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4.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6.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7.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8.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9.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65" r:id="rId5"/>
    <p:sldMasterId id="2147484293" r:id="rId6"/>
    <p:sldMasterId id="2147484322" r:id="rId7"/>
    <p:sldMasterId id="2147484351" r:id="rId8"/>
    <p:sldMasterId id="2147484391" r:id="rId9"/>
    <p:sldMasterId id="2147484401" r:id="rId10"/>
    <p:sldMasterId id="2147484431" r:id="rId11"/>
    <p:sldMasterId id="2147484457" r:id="rId12"/>
    <p:sldMasterId id="2147484464" r:id="rId13"/>
  </p:sldMasterIdLst>
  <p:notesMasterIdLst>
    <p:notesMasterId r:id="rId42"/>
  </p:notesMasterIdLst>
  <p:handoutMasterIdLst>
    <p:handoutMasterId r:id="rId43"/>
  </p:handoutMasterIdLst>
  <p:sldIdLst>
    <p:sldId id="1401" r:id="rId14"/>
    <p:sldId id="1405" r:id="rId15"/>
    <p:sldId id="1411" r:id="rId16"/>
    <p:sldId id="1460" r:id="rId17"/>
    <p:sldId id="1461" r:id="rId18"/>
    <p:sldId id="1458" r:id="rId19"/>
    <p:sldId id="1415" r:id="rId20"/>
    <p:sldId id="1456" r:id="rId21"/>
    <p:sldId id="1453" r:id="rId22"/>
    <p:sldId id="1438" r:id="rId23"/>
    <p:sldId id="1412" r:id="rId24"/>
    <p:sldId id="1451" r:id="rId25"/>
    <p:sldId id="1441" r:id="rId26"/>
    <p:sldId id="1420" r:id="rId27"/>
    <p:sldId id="1414" r:id="rId28"/>
    <p:sldId id="1444" r:id="rId29"/>
    <p:sldId id="1440" r:id="rId30"/>
    <p:sldId id="1459" r:id="rId31"/>
    <p:sldId id="1443" r:id="rId32"/>
    <p:sldId id="1421" r:id="rId33"/>
    <p:sldId id="1435" r:id="rId34"/>
    <p:sldId id="1423" r:id="rId35"/>
    <p:sldId id="1424" r:id="rId36"/>
    <p:sldId id="1449" r:id="rId37"/>
    <p:sldId id="1450" r:id="rId38"/>
    <p:sldId id="1447" r:id="rId39"/>
    <p:sldId id="1448" r:id="rId40"/>
    <p:sldId id="1408" r:id="rId41"/>
  </p:sldIdLst>
  <p:sldSz cx="9326563"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avew" id="{0C8682EF-709C-4DD2-B11B-19E2D910C2A9}">
          <p14:sldIdLst>
            <p14:sldId id="1401"/>
            <p14:sldId id="1405"/>
            <p14:sldId id="1411"/>
            <p14:sldId id="1460"/>
            <p14:sldId id="1461"/>
            <p14:sldId id="1458"/>
            <p14:sldId id="1415"/>
            <p14:sldId id="1456"/>
            <p14:sldId id="1453"/>
            <p14:sldId id="1438"/>
            <p14:sldId id="1412"/>
            <p14:sldId id="1451"/>
            <p14:sldId id="1441"/>
            <p14:sldId id="1420"/>
            <p14:sldId id="1414"/>
            <p14:sldId id="1444"/>
            <p14:sldId id="1440"/>
            <p14:sldId id="1459"/>
            <p14:sldId id="1443"/>
            <p14:sldId id="1421"/>
          </p14:sldIdLst>
        </p14:section>
        <p14:section name="Demos" id="{14F25F92-7114-4C87-8866-B666E867A6AB}">
          <p14:sldIdLst>
            <p14:sldId id="1435"/>
          </p14:sldIdLst>
        </p14:section>
        <p14:section name="Another Example" id="{AC3283C1-09CA-4B11-B396-E4F6FAD3724D}">
          <p14:sldIdLst>
            <p14:sldId id="1423"/>
            <p14:sldId id="1424"/>
            <p14:sldId id="1449"/>
            <p14:sldId id="1450"/>
            <p14:sldId id="1447"/>
            <p14:sldId id="1448"/>
            <p14:sldId id="140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37373"/>
    <a:srgbClr val="FFFFFF"/>
    <a:srgbClr val="0078D7"/>
    <a:srgbClr val="525252"/>
    <a:srgbClr val="000000"/>
    <a:srgbClr val="004B1C"/>
    <a:srgbClr val="004B50"/>
    <a:srgbClr val="002050"/>
    <a:srgbClr val="D83B01"/>
    <a:srgbClr val="5C2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143" autoAdjust="0"/>
    <p:restoredTop sz="86479" autoAdjust="0"/>
  </p:normalViewPr>
  <p:slideViewPr>
    <p:cSldViewPr>
      <p:cViewPr varScale="1">
        <p:scale>
          <a:sx n="72" d="100"/>
          <a:sy n="72" d="100"/>
        </p:scale>
        <p:origin x="1896" y="60"/>
      </p:cViewPr>
      <p:guideLst/>
    </p:cSldViewPr>
  </p:slideViewPr>
  <p:outlineViewPr>
    <p:cViewPr>
      <p:scale>
        <a:sx n="33" d="100"/>
        <a:sy n="33" d="100"/>
      </p:scale>
      <p:origin x="0" y="-7746"/>
    </p:cViewPr>
  </p:outlineViewPr>
  <p:notesTextViewPr>
    <p:cViewPr>
      <p:scale>
        <a:sx n="100" d="100"/>
        <a:sy n="100" d="100"/>
      </p:scale>
      <p:origin x="0" y="0"/>
    </p:cViewPr>
  </p:notesTextViewPr>
  <p:sorterViewPr>
    <p:cViewPr varScale="1">
      <p:scale>
        <a:sx n="100" d="100"/>
        <a:sy n="100" d="100"/>
      </p:scale>
      <p:origin x="0" y="-192"/>
    </p:cViewPr>
  </p:sorterViewPr>
  <p:notesViewPr>
    <p:cSldViewPr showGuides="1">
      <p:cViewPr varScale="1">
        <p:scale>
          <a:sx n="84" d="100"/>
          <a:sy n="84" d="100"/>
        </p:scale>
        <p:origin x="3072"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C1B5E33-0DD5-4BCF-BE26-352B0757D80E}" type="datetime8">
              <a:rPr lang="en-US" smtClean="0">
                <a:latin typeface="Segoe UI" pitchFamily="34" charset="0"/>
              </a:rPr>
              <a:t>8/30/2019 9:1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5420126D-49D9-4C1B-B526-120EF9D44EA2}" type="datetime8">
              <a:rPr lang="en-US" smtClean="0"/>
              <a:t>8/30/2019 9:10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Slide Image Placeholder 1"/>
          <p:cNvSpPr>
            <a:spLocks noGrp="1" noRot="1" noChangeAspect="1"/>
          </p:cNvSpPr>
          <p:nvPr>
            <p:ph type="sldImg"/>
          </p:nvPr>
        </p:nvSpPr>
        <p:spPr bwMode="auto">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a:defRPr/>
            </a:pPr>
            <a:endParaRPr lang="en-US" dirty="0"/>
          </a:p>
        </p:txBody>
      </p:sp>
      <p:sp>
        <p:nvSpPr>
          <p:cNvPr id="52227"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8264C94A-5C3A-4B46-867A-C9F3F60067D9}" type="slidenum">
              <a:rPr lang="en-US" sz="1200">
                <a:latin typeface="Calibri" charset="0"/>
              </a:rPr>
              <a:pPr eaLnBrk="1" hangingPunct="1"/>
              <a:t>1</a:t>
            </a:fld>
            <a:endParaRPr lang="en-US" sz="1200">
              <a:latin typeface="Calibri" charset="0"/>
            </a:endParaRPr>
          </a:p>
        </p:txBody>
      </p:sp>
    </p:spTree>
    <p:extLst>
      <p:ext uri="{BB962C8B-B14F-4D97-AF65-F5344CB8AC3E}">
        <p14:creationId xmlns:p14="http://schemas.microsoft.com/office/powerpoint/2010/main" val="5830404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A6104239-5842-467B-A09D-4193CE28CF54}" type="datetime1">
              <a:rPr lang="en-US" smtClean="0"/>
              <a:t>8/30/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673185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8/30/2019 9:1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0542073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e mean when the data is tightly normally distributed</a:t>
            </a:r>
          </a:p>
          <a:p>
            <a:r>
              <a:rPr lang="en-US" dirty="0"/>
              <a:t>median if the data has fat tails (outliers)</a:t>
            </a:r>
          </a:p>
          <a:p>
            <a:r>
              <a:rPr lang="en-US" dirty="0"/>
              <a:t>mode (most common value) if you have predominantly a single discrete value that occurs most often</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5420126D-49D9-4C1B-B526-120EF9D44EA2}" type="datetime8">
              <a:rPr lang="en-US" smtClean="0"/>
              <a:t>8/30/2019 9:1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0613496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8/30/2019 9:1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6063008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8/30/2019 9:1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40095928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achine Learning, Analytics &amp; Data Science Conference</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0/2019 9:10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59680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48125" y="850900"/>
            <a:ext cx="2246313" cy="1684338"/>
          </a:xfrm>
        </p:spPr>
      </p:sp>
      <p:sp>
        <p:nvSpPr>
          <p:cNvPr id="3" name="Notes Placeholder 2"/>
          <p:cNvSpPr>
            <a:spLocks noGrp="1"/>
          </p:cNvSpPr>
          <p:nvPr>
            <p:ph type="body" idx="1"/>
          </p:nvPr>
        </p:nvSpPr>
        <p:spPr/>
        <p:txBody>
          <a:bodyPr/>
          <a:lstStyle/>
          <a:p>
            <a:r>
              <a:rPr lang="en-IN" dirty="0">
                <a:latin typeface="Segoe UI" panose="020B0502040204020203" pitchFamily="34" charset="0"/>
              </a:rPr>
              <a:t>studio.azureml.com</a:t>
            </a:r>
          </a:p>
          <a:p>
            <a:r>
              <a:rPr lang="en-IN" dirty="0">
                <a:latin typeface="Segoe UI" panose="020B0502040204020203" pitchFamily="34" charset="0"/>
              </a:rPr>
              <a:t>dave@davewentzel.com: personal</a:t>
            </a:r>
          </a:p>
          <a:p>
            <a:r>
              <a:rPr lang="en-IN" dirty="0">
                <a:latin typeface="Segoe UI" panose="020B0502040204020203" pitchFamily="34" charset="0"/>
              </a:rPr>
              <a:t>Loan Granting Binary </a:t>
            </a:r>
            <a:r>
              <a:rPr lang="en-IN" dirty="0" err="1">
                <a:latin typeface="Segoe UI" panose="020B0502040204020203" pitchFamily="34" charset="0"/>
              </a:rPr>
              <a:t>Classifcation</a:t>
            </a:r>
            <a:endParaRPr lang="en-IN" dirty="0">
              <a:latin typeface="Segoe UI" panose="020B0502040204020203" pitchFamily="34" charset="0"/>
            </a:endParaRPr>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55955158-DAB7-464F-B4BB-7877F281FC65}" type="slidenum">
              <a:rPr lang="en-US" smtClean="0">
                <a:latin typeface="Segoe UI" panose="020B0502040204020203" pitchFamily="34" charset="0"/>
              </a:rPr>
              <a:t>20</a:t>
            </a:fld>
            <a:endParaRPr lang="en-US" dirty="0">
              <a:latin typeface="Segoe UI" panose="020B0502040204020203" pitchFamily="34" charset="0"/>
            </a:endParaRPr>
          </a:p>
        </p:txBody>
      </p:sp>
    </p:spTree>
    <p:extLst>
      <p:ext uri="{BB962C8B-B14F-4D97-AF65-F5344CB8AC3E}">
        <p14:creationId xmlns:p14="http://schemas.microsoft.com/office/powerpoint/2010/main" val="33366119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endParaRPr>
          </a:p>
        </p:txBody>
      </p:sp>
      <p:sp>
        <p:nvSpPr>
          <p:cNvPr id="8" name="Date Placeholder 7"/>
          <p:cNvSpPr>
            <a:spLocks noGrp="1"/>
          </p:cNvSpPr>
          <p:nvPr>
            <p:ph type="dt" idx="1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904E127-5AC7-4C65-9398-198CB5C7B8E2}"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0/2019 9:10 PM</a:t>
            </a:fld>
            <a:endParaRPr kumimoji="0" lang="en-US" sz="1800" b="0" i="0" u="none" strike="noStrike" kern="0" cap="none" spc="0" normalizeH="0" baseline="0" noProof="0" dirty="0">
              <a:ln>
                <a:noFill/>
              </a:ln>
              <a:solidFill>
                <a:prstClr val="black"/>
              </a:solidFill>
              <a:effectLst/>
              <a:uLnTx/>
              <a:uFillTx/>
            </a:endParaRPr>
          </a:p>
        </p:txBody>
      </p:sp>
      <p:sp>
        <p:nvSpPr>
          <p:cNvPr id="9" name="Footer Placeholder 8"/>
          <p:cNvSpPr>
            <a:spLocks noGrp="1"/>
          </p:cNvSpPr>
          <p:nvPr>
            <p:ph type="ftr" sz="quarter" idx="15"/>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287429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8/30/2019 9:1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24061392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8/30/2019 9:1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8952320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
        <p:nvSpPr>
          <p:cNvPr id="8" name="Date Placeholder 7"/>
          <p:cNvSpPr>
            <a:spLocks noGrp="1"/>
          </p:cNvSpPr>
          <p:nvPr>
            <p:ph type="dt" idx="14"/>
          </p:nvPr>
        </p:nvSpPr>
        <p:spPr/>
        <p:txBody>
          <a:bodyPr/>
          <a:lstStyle/>
          <a:p>
            <a:fld id="{6D206E1D-181B-417F-A20F-F5ED56090A67}" type="datetime8">
              <a:rPr lang="en-US" smtClean="0"/>
              <a:t>8/30/2019 9:10 PM</a:t>
            </a:fld>
            <a:endParaRPr lang="en-US" dirty="0"/>
          </a:p>
        </p:txBody>
      </p:sp>
      <p:sp>
        <p:nvSpPr>
          <p:cNvPr id="9" name="Footer Placeholder 8"/>
          <p:cNvSpPr>
            <a:spLocks noGrp="1"/>
          </p:cNvSpPr>
          <p:nvPr>
            <p:ph type="ftr" sz="quarter" idx="15"/>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999194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0/2019 9:10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5373317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Date Placeholder 7"/>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EFAC48-29CA-4BCB-AAF2-926CEF9FED9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0/2019 9:10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9" name="Footer Placeholder 8"/>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11" name="Header Placeholder 10"/>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achine Learning, Analytics, &amp; Data Science Conference</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77369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Footer Placeholder 3"/>
          <p:cNvSpPr>
            <a:spLocks noGrp="1"/>
          </p:cNvSpPr>
          <p:nvPr>
            <p:ph type="ftr" sz="quarter" idx="10"/>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8/30/2019</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19191410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urious correlations</a:t>
            </a:r>
          </a:p>
          <a:p>
            <a:r>
              <a:rPr lang="en-US" dirty="0"/>
              <a:t>	annual income by education level (not understanding control variables)</a:t>
            </a:r>
          </a:p>
          <a:p>
            <a:r>
              <a:rPr lang="en-US" dirty="0"/>
              <a:t>	golf causes more health problems (again, not controlling for age).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30/2019 9:1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6210186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5420126D-49D9-4C1B-B526-120EF9D44EA2}" type="datetime8">
              <a:rPr lang="en-US" smtClean="0"/>
              <a:t>8/30/2019 9:1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8654896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urious correlation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30/2019 9:1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2271600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urious correlation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30/2019 9:1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7006349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8/30/2019 9:1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12509270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0/2019 9:10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57960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TechReady 23</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0/2019 9:10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219656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2.jpg"/><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5.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9.jpeg"/><Relationship Id="rId1" Type="http://schemas.openxmlformats.org/officeDocument/2006/relationships/slideMaster" Target="../slideMasters/slideMaster7.xml"/><Relationship Id="rId4" Type="http://schemas.openxmlformats.org/officeDocument/2006/relationships/image" Target="../media/image30.png"/></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7.jpg"/><Relationship Id="rId1" Type="http://schemas.openxmlformats.org/officeDocument/2006/relationships/slideMaster" Target="../slideMasters/slideMaster8.xml"/><Relationship Id="rId4" Type="http://schemas.openxmlformats.org/officeDocument/2006/relationships/image" Target="../media/image35.png"/></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0.jpe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 Id="rId5" Type="http://schemas.openxmlformats.org/officeDocument/2006/relationships/image" Target="../media/image9.png"/><Relationship Id="rId4" Type="http://schemas.microsoft.com/office/2007/relationships/hdphoto" Target="../media/hdphoto1.wdp"/></Relationships>
</file>

<file path=ppt/slideLayouts/_rels/slideLayout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 Id="rId5" Type="http://schemas.openxmlformats.org/officeDocument/2006/relationships/image" Target="../media/image9.png"/><Relationship Id="rId4" Type="http://schemas.microsoft.com/office/2007/relationships/hdphoto" Target="../media/hdphoto1.wdp"/></Relationships>
</file>

<file path=ppt/slideLayouts/_rels/slideLayout7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r="25007"/>
          <a:stretch/>
        </p:blipFill>
        <p:spPr>
          <a:xfrm>
            <a:off x="0" y="-992"/>
            <a:ext cx="9326563" cy="6995517"/>
          </a:xfrm>
          <a:prstGeom prst="rect">
            <a:avLst/>
          </a:prstGeom>
        </p:spPr>
      </p:pic>
      <p:sp>
        <p:nvSpPr>
          <p:cNvPr id="2" name="Rectangle 1"/>
          <p:cNvSpPr/>
          <p:nvPr userDrawn="1"/>
        </p:nvSpPr>
        <p:spPr bwMode="auto">
          <a:xfrm>
            <a:off x="274209" y="2125676"/>
            <a:ext cx="5486340" cy="365760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25677"/>
            <a:ext cx="5486400" cy="1828800"/>
          </a:xfrm>
          <a:noFill/>
        </p:spPr>
        <p:txBody>
          <a:bodyPr lIns="146304" tIns="91440" rIns="146304" bIns="91440" anchor="t" anchorCtr="0"/>
          <a:lstStyle>
            <a:lvl1pPr>
              <a:defRPr sz="4800" spc="-75" baseline="0">
                <a:gradFill>
                  <a:gsLst>
                    <a:gs pos="25926">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638" y="3954457"/>
            <a:ext cx="5486400" cy="1828800"/>
          </a:xfrm>
        </p:spPr>
        <p:txBody>
          <a:bodyPr tIns="109728" bIns="109728">
            <a:noAutofit/>
          </a:bodyPr>
          <a:lstStyle>
            <a:lvl1pPr marL="0" indent="0">
              <a:spcBef>
                <a:spcPts val="0"/>
              </a:spcBef>
              <a:buNone/>
              <a:defRPr sz="2800">
                <a:gradFill>
                  <a:gsLst>
                    <a:gs pos="25926">
                      <a:srgbClr val="FFFFFF"/>
                    </a:gs>
                    <a:gs pos="53000">
                      <a:srgbClr val="FFFFFF"/>
                    </a:gs>
                  </a:gsLst>
                  <a:lin ang="5400000" scaled="0"/>
                </a:gradFill>
              </a:defRPr>
            </a:lvl1pPr>
          </a:lstStyle>
          <a:p>
            <a:pPr lvl="0"/>
            <a:r>
              <a:rPr lang="en-US" dirty="0"/>
              <a:t>Speaker Name</a:t>
            </a:r>
          </a:p>
        </p:txBody>
      </p:sp>
      <p:grpSp>
        <p:nvGrpSpPr>
          <p:cNvPr id="10" name="Group 9"/>
          <p:cNvGrpSpPr>
            <a:grpSpLocks noChangeAspect="1"/>
          </p:cNvGrpSpPr>
          <p:nvPr userDrawn="1"/>
        </p:nvGrpSpPr>
        <p:grpSpPr bwMode="gray">
          <a:xfrm>
            <a:off x="457200" y="6240265"/>
            <a:ext cx="1280160" cy="274835"/>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3"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514" y="1211287"/>
            <a:ext cx="4206240" cy="2357568"/>
          </a:xfrm>
        </p:spPr>
        <p:txBody>
          <a:bodyPr wrap="square">
            <a:spAutoFit/>
          </a:bodyPr>
          <a:lstStyle>
            <a:lvl1pPr marL="215475" indent="-215475">
              <a:spcBef>
                <a:spcPts val="918"/>
              </a:spcBef>
              <a:buClr>
                <a:schemeClr val="tx1"/>
              </a:buClr>
              <a:buFont typeface="Arial" pitchFamily="34" charset="0"/>
              <a:buChar char="•"/>
              <a:defRPr sz="3200"/>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846113" y="1211287"/>
            <a:ext cx="4206240" cy="2357568"/>
          </a:xfrm>
        </p:spPr>
        <p:txBody>
          <a:bodyPr wrap="square">
            <a:spAutoFit/>
          </a:bodyPr>
          <a:lstStyle>
            <a:lvl1pPr marL="215475" indent="-215475">
              <a:spcBef>
                <a:spcPts val="918"/>
              </a:spcBef>
              <a:buClr>
                <a:schemeClr val="tx1"/>
              </a:buClr>
              <a:buFont typeface="Arial" pitchFamily="34" charset="0"/>
              <a:buChar char="•"/>
              <a:defRPr sz="3200"/>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4_Title Slide Photo_Option">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01" y="1476"/>
            <a:ext cx="9384262" cy="699951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500" y="1973262"/>
            <a:ext cx="5063797" cy="3474720"/>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6009" y="2125677"/>
            <a:ext cx="4801383" cy="1828800"/>
          </a:xfrm>
          <a:noFill/>
        </p:spPr>
        <p:txBody>
          <a:bodyPr lIns="146304" tIns="91440" rIns="146304" bIns="91440" anchor="t" anchorCtr="0"/>
          <a:lstStyle>
            <a:lvl1pPr>
              <a:defRPr sz="4049" spc="-75"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204770" y="3954457"/>
            <a:ext cx="4801383" cy="1371600"/>
          </a:xfrm>
        </p:spPr>
        <p:txBody>
          <a:bodyPr tIns="109728" bIns="109728">
            <a:noAutofit/>
          </a:bodyPr>
          <a:lstStyle>
            <a:lvl1pPr marL="0" indent="0">
              <a:spcBef>
                <a:spcPts val="0"/>
              </a:spcBef>
              <a:buNone/>
              <a:defRPr sz="2400">
                <a:solidFill>
                  <a:schemeClr val="bg1"/>
                </a:solidFill>
              </a:defRPr>
            </a:lvl1pPr>
          </a:lstStyle>
          <a:p>
            <a:pPr lvl="0"/>
            <a:r>
              <a:rPr lang="en-US" dirty="0"/>
              <a:t>Speaker Name</a:t>
            </a:r>
          </a:p>
        </p:txBody>
      </p:sp>
      <p:grpSp>
        <p:nvGrpSpPr>
          <p:cNvPr id="8" name="Group 7"/>
          <p:cNvGrpSpPr>
            <a:grpSpLocks noChangeAspect="1"/>
          </p:cNvGrpSpPr>
          <p:nvPr/>
        </p:nvGrpSpPr>
        <p:grpSpPr bwMode="black">
          <a:xfrm>
            <a:off x="343109" y="6175628"/>
            <a:ext cx="1234335" cy="353359"/>
            <a:chOff x="457200" y="1643393"/>
            <a:chExt cx="4492753" cy="964540"/>
          </a:xfrm>
        </p:grpSpPr>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a:p>
          </p:txBody>
        </p:sp>
      </p:grpSp>
    </p:spTree>
    <p:extLst>
      <p:ext uri="{BB962C8B-B14F-4D97-AF65-F5344CB8AC3E}">
        <p14:creationId xmlns:p14="http://schemas.microsoft.com/office/powerpoint/2010/main" val="463118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5_Title Slide Photo_Option">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 y="646"/>
            <a:ext cx="9326562" cy="7078015"/>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500" y="1973262"/>
            <a:ext cx="5063797" cy="3474720"/>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6009" y="2125677"/>
            <a:ext cx="4801383" cy="1828800"/>
          </a:xfrm>
          <a:noFill/>
        </p:spPr>
        <p:txBody>
          <a:bodyPr lIns="146304" tIns="91440" rIns="146304" bIns="91440" anchor="t" anchorCtr="0"/>
          <a:lstStyle>
            <a:lvl1pPr>
              <a:defRPr sz="4049" spc="-75"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204770" y="3954457"/>
            <a:ext cx="4801383" cy="1371600"/>
          </a:xfrm>
        </p:spPr>
        <p:txBody>
          <a:bodyPr tIns="109728" bIns="109728">
            <a:noAutofit/>
          </a:bodyPr>
          <a:lstStyle>
            <a:lvl1pPr marL="0" indent="0">
              <a:spcBef>
                <a:spcPts val="0"/>
              </a:spcBef>
              <a:buNone/>
              <a:defRPr sz="2400">
                <a:solidFill>
                  <a:schemeClr val="bg1"/>
                </a:solidFill>
              </a:defRPr>
            </a:lvl1pPr>
          </a:lstStyle>
          <a:p>
            <a:pPr lvl="0"/>
            <a:r>
              <a:rPr lang="en-US" dirty="0"/>
              <a:t>Speaker Name</a:t>
            </a:r>
          </a:p>
        </p:txBody>
      </p:sp>
      <p:grpSp>
        <p:nvGrpSpPr>
          <p:cNvPr id="13" name="Group 12"/>
          <p:cNvGrpSpPr>
            <a:grpSpLocks noChangeAspect="1"/>
          </p:cNvGrpSpPr>
          <p:nvPr/>
        </p:nvGrpSpPr>
        <p:grpSpPr bwMode="black">
          <a:xfrm>
            <a:off x="343109" y="6161443"/>
            <a:ext cx="1234335" cy="353359"/>
            <a:chOff x="457200" y="1643393"/>
            <a:chExt cx="4492753" cy="964540"/>
          </a:xfrm>
        </p:grpSpPr>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457200" y="1643393"/>
              <a:ext cx="964540" cy="964540"/>
            </a:xfrm>
            <a:prstGeom prst="rect">
              <a:avLst/>
            </a:prstGeom>
          </p:spPr>
        </p:pic>
        <p:sp>
          <p:nvSpPr>
            <p:cNvPr id="15"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a:p>
          </p:txBody>
        </p:sp>
      </p:grpSp>
    </p:spTree>
    <p:extLst>
      <p:ext uri="{BB962C8B-B14F-4D97-AF65-F5344CB8AC3E}">
        <p14:creationId xmlns:p14="http://schemas.microsoft.com/office/powerpoint/2010/main" val="34362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ntent with Graphic">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343109" y="6161442"/>
            <a:ext cx="1234335" cy="353658"/>
          </a:xfrm>
          <a:prstGeom prst="rect">
            <a:avLst/>
          </a:prstGeom>
        </p:spPr>
      </p:pic>
      <p:grpSp>
        <p:nvGrpSpPr>
          <p:cNvPr id="6" name="Group 5"/>
          <p:cNvGrpSpPr>
            <a:grpSpLocks noChangeAspect="1"/>
          </p:cNvGrpSpPr>
          <p:nvPr/>
        </p:nvGrpSpPr>
        <p:grpSpPr>
          <a:xfrm>
            <a:off x="3292036" y="3421062"/>
            <a:ext cx="6034527" cy="3588772"/>
            <a:chOff x="2389187" y="3314382"/>
            <a:chExt cx="10061576" cy="3676650"/>
          </a:xfrm>
        </p:grpSpPr>
        <p:grpSp>
          <p:nvGrpSpPr>
            <p:cNvPr id="53" name="Group 52"/>
            <p:cNvGrpSpPr/>
            <p:nvPr userDrawn="1"/>
          </p:nvGrpSpPr>
          <p:grpSpPr>
            <a:xfrm>
              <a:off x="2389187" y="3314382"/>
              <a:ext cx="10061576" cy="3676650"/>
              <a:chOff x="2481263" y="3317875"/>
              <a:chExt cx="10061576" cy="3676650"/>
            </a:xfrm>
          </p:grpSpPr>
          <p:sp>
            <p:nvSpPr>
              <p:cNvPr id="54" name="Freeform 872"/>
              <p:cNvSpPr>
                <a:spLocks/>
              </p:cNvSpPr>
              <p:nvPr/>
            </p:nvSpPr>
            <p:spPr bwMode="auto">
              <a:xfrm>
                <a:off x="2508251" y="3984625"/>
                <a:ext cx="10034588" cy="3009900"/>
              </a:xfrm>
              <a:custGeom>
                <a:avLst/>
                <a:gdLst>
                  <a:gd name="T0" fmla="*/ 3893 w 6321"/>
                  <a:gd name="T1" fmla="*/ 4 h 1896"/>
                  <a:gd name="T2" fmla="*/ 3943 w 6321"/>
                  <a:gd name="T3" fmla="*/ 42 h 1896"/>
                  <a:gd name="T4" fmla="*/ 4097 w 6321"/>
                  <a:gd name="T5" fmla="*/ 156 h 1896"/>
                  <a:gd name="T6" fmla="*/ 4333 w 6321"/>
                  <a:gd name="T7" fmla="*/ 332 h 1896"/>
                  <a:gd name="T8" fmla="*/ 4349 w 6321"/>
                  <a:gd name="T9" fmla="*/ 346 h 1896"/>
                  <a:gd name="T10" fmla="*/ 4431 w 6321"/>
                  <a:gd name="T11" fmla="*/ 420 h 1896"/>
                  <a:gd name="T12" fmla="*/ 4637 w 6321"/>
                  <a:gd name="T13" fmla="*/ 601 h 1896"/>
                  <a:gd name="T14" fmla="*/ 4773 w 6321"/>
                  <a:gd name="T15" fmla="*/ 712 h 1896"/>
                  <a:gd name="T16" fmla="*/ 4823 w 6321"/>
                  <a:gd name="T17" fmla="*/ 685 h 1896"/>
                  <a:gd name="T18" fmla="*/ 4840 w 6321"/>
                  <a:gd name="T19" fmla="*/ 655 h 1896"/>
                  <a:gd name="T20" fmla="*/ 4911 w 6321"/>
                  <a:gd name="T21" fmla="*/ 524 h 1896"/>
                  <a:gd name="T22" fmla="*/ 5032 w 6321"/>
                  <a:gd name="T23" fmla="*/ 300 h 1896"/>
                  <a:gd name="T24" fmla="*/ 5050 w 6321"/>
                  <a:gd name="T25" fmla="*/ 313 h 1896"/>
                  <a:gd name="T26" fmla="*/ 5140 w 6321"/>
                  <a:gd name="T27" fmla="*/ 382 h 1896"/>
                  <a:gd name="T28" fmla="*/ 5361 w 6321"/>
                  <a:gd name="T29" fmla="*/ 555 h 1896"/>
                  <a:gd name="T30" fmla="*/ 5434 w 6321"/>
                  <a:gd name="T31" fmla="*/ 614 h 1896"/>
                  <a:gd name="T32" fmla="*/ 5509 w 6321"/>
                  <a:gd name="T33" fmla="*/ 712 h 1896"/>
                  <a:gd name="T34" fmla="*/ 5512 w 6321"/>
                  <a:gd name="T35" fmla="*/ 720 h 1896"/>
                  <a:gd name="T36" fmla="*/ 5545 w 6321"/>
                  <a:gd name="T37" fmla="*/ 766 h 1896"/>
                  <a:gd name="T38" fmla="*/ 5633 w 6321"/>
                  <a:gd name="T39" fmla="*/ 894 h 1896"/>
                  <a:gd name="T40" fmla="*/ 5804 w 6321"/>
                  <a:gd name="T41" fmla="*/ 1144 h 1896"/>
                  <a:gd name="T42" fmla="*/ 6087 w 6321"/>
                  <a:gd name="T43" fmla="*/ 1554 h 1896"/>
                  <a:gd name="T44" fmla="*/ 0 w 6321"/>
                  <a:gd name="T45" fmla="*/ 1896 h 1896"/>
                  <a:gd name="T46" fmla="*/ 12 w 6321"/>
                  <a:gd name="T47" fmla="*/ 1884 h 1896"/>
                  <a:gd name="T48" fmla="*/ 75 w 6321"/>
                  <a:gd name="T49" fmla="*/ 1829 h 1896"/>
                  <a:gd name="T50" fmla="*/ 235 w 6321"/>
                  <a:gd name="T51" fmla="*/ 1689 h 1896"/>
                  <a:gd name="T52" fmla="*/ 530 w 6321"/>
                  <a:gd name="T53" fmla="*/ 1426 h 1896"/>
                  <a:gd name="T54" fmla="*/ 820 w 6321"/>
                  <a:gd name="T55" fmla="*/ 1222 h 1896"/>
                  <a:gd name="T56" fmla="*/ 915 w 6321"/>
                  <a:gd name="T57" fmla="*/ 1178 h 1896"/>
                  <a:gd name="T58" fmla="*/ 1076 w 6321"/>
                  <a:gd name="T59" fmla="*/ 1188 h 1896"/>
                  <a:gd name="T60" fmla="*/ 1128 w 6321"/>
                  <a:gd name="T61" fmla="*/ 1299 h 1896"/>
                  <a:gd name="T62" fmla="*/ 1155 w 6321"/>
                  <a:gd name="T63" fmla="*/ 1338 h 1896"/>
                  <a:gd name="T64" fmla="*/ 1205 w 6321"/>
                  <a:gd name="T65" fmla="*/ 1280 h 1896"/>
                  <a:gd name="T66" fmla="*/ 1362 w 6321"/>
                  <a:gd name="T67" fmla="*/ 1102 h 1896"/>
                  <a:gd name="T68" fmla="*/ 1422 w 6321"/>
                  <a:gd name="T69" fmla="*/ 1046 h 1896"/>
                  <a:gd name="T70" fmla="*/ 1533 w 6321"/>
                  <a:gd name="T71" fmla="*/ 1029 h 1896"/>
                  <a:gd name="T72" fmla="*/ 1639 w 6321"/>
                  <a:gd name="T73" fmla="*/ 1013 h 1896"/>
                  <a:gd name="T74" fmla="*/ 1712 w 6321"/>
                  <a:gd name="T75" fmla="*/ 1029 h 1896"/>
                  <a:gd name="T76" fmla="*/ 1894 w 6321"/>
                  <a:gd name="T77" fmla="*/ 1071 h 1896"/>
                  <a:gd name="T78" fmla="*/ 1906 w 6321"/>
                  <a:gd name="T79" fmla="*/ 1056 h 1896"/>
                  <a:gd name="T80" fmla="*/ 1963 w 6321"/>
                  <a:gd name="T81" fmla="*/ 979 h 1896"/>
                  <a:gd name="T82" fmla="*/ 2103 w 6321"/>
                  <a:gd name="T83" fmla="*/ 789 h 1896"/>
                  <a:gd name="T84" fmla="*/ 2365 w 6321"/>
                  <a:gd name="T85" fmla="*/ 434 h 1896"/>
                  <a:gd name="T86" fmla="*/ 2382 w 6321"/>
                  <a:gd name="T87" fmla="*/ 430 h 1896"/>
                  <a:gd name="T88" fmla="*/ 2495 w 6321"/>
                  <a:gd name="T89" fmla="*/ 401 h 1896"/>
                  <a:gd name="T90" fmla="*/ 2726 w 6321"/>
                  <a:gd name="T91" fmla="*/ 346 h 1896"/>
                  <a:gd name="T92" fmla="*/ 2743 w 6321"/>
                  <a:gd name="T93" fmla="*/ 359 h 1896"/>
                  <a:gd name="T94" fmla="*/ 2841 w 6321"/>
                  <a:gd name="T95" fmla="*/ 428 h 1896"/>
                  <a:gd name="T96" fmla="*/ 3021 w 6321"/>
                  <a:gd name="T97" fmla="*/ 557 h 1896"/>
                  <a:gd name="T98" fmla="*/ 3041 w 6321"/>
                  <a:gd name="T99" fmla="*/ 547 h 1896"/>
                  <a:gd name="T100" fmla="*/ 3144 w 6321"/>
                  <a:gd name="T101" fmla="*/ 509 h 1896"/>
                  <a:gd name="T102" fmla="*/ 3400 w 6321"/>
                  <a:gd name="T103" fmla="*/ 409 h 1896"/>
                  <a:gd name="T104" fmla="*/ 3563 w 6321"/>
                  <a:gd name="T105" fmla="*/ 344 h 1896"/>
                  <a:gd name="T106" fmla="*/ 3596 w 6321"/>
                  <a:gd name="T107" fmla="*/ 311 h 1896"/>
                  <a:gd name="T108" fmla="*/ 3707 w 6321"/>
                  <a:gd name="T109" fmla="*/ 192 h 1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21" h="1896">
                    <a:moveTo>
                      <a:pt x="3888" y="0"/>
                    </a:moveTo>
                    <a:lnTo>
                      <a:pt x="3890" y="0"/>
                    </a:lnTo>
                    <a:lnTo>
                      <a:pt x="3890" y="0"/>
                    </a:lnTo>
                    <a:lnTo>
                      <a:pt x="3891" y="2"/>
                    </a:lnTo>
                    <a:lnTo>
                      <a:pt x="3893" y="4"/>
                    </a:lnTo>
                    <a:lnTo>
                      <a:pt x="3897" y="8"/>
                    </a:lnTo>
                    <a:lnTo>
                      <a:pt x="3905" y="14"/>
                    </a:lnTo>
                    <a:lnTo>
                      <a:pt x="3915" y="19"/>
                    </a:lnTo>
                    <a:lnTo>
                      <a:pt x="3928" y="29"/>
                    </a:lnTo>
                    <a:lnTo>
                      <a:pt x="3943" y="42"/>
                    </a:lnTo>
                    <a:lnTo>
                      <a:pt x="3964" y="58"/>
                    </a:lnTo>
                    <a:lnTo>
                      <a:pt x="3989" y="77"/>
                    </a:lnTo>
                    <a:lnTo>
                      <a:pt x="4020" y="98"/>
                    </a:lnTo>
                    <a:lnTo>
                      <a:pt x="4057" y="125"/>
                    </a:lnTo>
                    <a:lnTo>
                      <a:pt x="4097" y="156"/>
                    </a:lnTo>
                    <a:lnTo>
                      <a:pt x="4145" y="192"/>
                    </a:lnTo>
                    <a:lnTo>
                      <a:pt x="4201" y="232"/>
                    </a:lnTo>
                    <a:lnTo>
                      <a:pt x="4262" y="280"/>
                    </a:lnTo>
                    <a:lnTo>
                      <a:pt x="4333" y="332"/>
                    </a:lnTo>
                    <a:lnTo>
                      <a:pt x="4333" y="332"/>
                    </a:lnTo>
                    <a:lnTo>
                      <a:pt x="4333" y="332"/>
                    </a:lnTo>
                    <a:lnTo>
                      <a:pt x="4335" y="334"/>
                    </a:lnTo>
                    <a:lnTo>
                      <a:pt x="4337" y="336"/>
                    </a:lnTo>
                    <a:lnTo>
                      <a:pt x="4343" y="340"/>
                    </a:lnTo>
                    <a:lnTo>
                      <a:pt x="4349" y="346"/>
                    </a:lnTo>
                    <a:lnTo>
                      <a:pt x="4358" y="355"/>
                    </a:lnTo>
                    <a:lnTo>
                      <a:pt x="4370" y="365"/>
                    </a:lnTo>
                    <a:lnTo>
                      <a:pt x="4387" y="380"/>
                    </a:lnTo>
                    <a:lnTo>
                      <a:pt x="4406" y="397"/>
                    </a:lnTo>
                    <a:lnTo>
                      <a:pt x="4431" y="420"/>
                    </a:lnTo>
                    <a:lnTo>
                      <a:pt x="4460" y="445"/>
                    </a:lnTo>
                    <a:lnTo>
                      <a:pt x="4495" y="476"/>
                    </a:lnTo>
                    <a:lnTo>
                      <a:pt x="4537" y="513"/>
                    </a:lnTo>
                    <a:lnTo>
                      <a:pt x="4583" y="555"/>
                    </a:lnTo>
                    <a:lnTo>
                      <a:pt x="4637" y="601"/>
                    </a:lnTo>
                    <a:lnTo>
                      <a:pt x="4696" y="655"/>
                    </a:lnTo>
                    <a:lnTo>
                      <a:pt x="4765" y="716"/>
                    </a:lnTo>
                    <a:lnTo>
                      <a:pt x="4765" y="716"/>
                    </a:lnTo>
                    <a:lnTo>
                      <a:pt x="4767" y="714"/>
                    </a:lnTo>
                    <a:lnTo>
                      <a:pt x="4773" y="712"/>
                    </a:lnTo>
                    <a:lnTo>
                      <a:pt x="4783" y="706"/>
                    </a:lnTo>
                    <a:lnTo>
                      <a:pt x="4798" y="699"/>
                    </a:lnTo>
                    <a:lnTo>
                      <a:pt x="4823" y="687"/>
                    </a:lnTo>
                    <a:lnTo>
                      <a:pt x="4823" y="687"/>
                    </a:lnTo>
                    <a:lnTo>
                      <a:pt x="4823" y="685"/>
                    </a:lnTo>
                    <a:lnTo>
                      <a:pt x="4825" y="683"/>
                    </a:lnTo>
                    <a:lnTo>
                      <a:pt x="4827" y="681"/>
                    </a:lnTo>
                    <a:lnTo>
                      <a:pt x="4829" y="676"/>
                    </a:lnTo>
                    <a:lnTo>
                      <a:pt x="4834" y="666"/>
                    </a:lnTo>
                    <a:lnTo>
                      <a:pt x="4840" y="655"/>
                    </a:lnTo>
                    <a:lnTo>
                      <a:pt x="4850" y="639"/>
                    </a:lnTo>
                    <a:lnTo>
                      <a:pt x="4859" y="618"/>
                    </a:lnTo>
                    <a:lnTo>
                      <a:pt x="4875" y="593"/>
                    </a:lnTo>
                    <a:lnTo>
                      <a:pt x="4890" y="561"/>
                    </a:lnTo>
                    <a:lnTo>
                      <a:pt x="4911" y="524"/>
                    </a:lnTo>
                    <a:lnTo>
                      <a:pt x="4934" y="480"/>
                    </a:lnTo>
                    <a:lnTo>
                      <a:pt x="4963" y="428"/>
                    </a:lnTo>
                    <a:lnTo>
                      <a:pt x="4996" y="369"/>
                    </a:lnTo>
                    <a:lnTo>
                      <a:pt x="5032" y="300"/>
                    </a:lnTo>
                    <a:lnTo>
                      <a:pt x="5032" y="300"/>
                    </a:lnTo>
                    <a:lnTo>
                      <a:pt x="5032" y="300"/>
                    </a:lnTo>
                    <a:lnTo>
                      <a:pt x="5034" y="301"/>
                    </a:lnTo>
                    <a:lnTo>
                      <a:pt x="5038" y="303"/>
                    </a:lnTo>
                    <a:lnTo>
                      <a:pt x="5042" y="307"/>
                    </a:lnTo>
                    <a:lnTo>
                      <a:pt x="5050" y="313"/>
                    </a:lnTo>
                    <a:lnTo>
                      <a:pt x="5059" y="321"/>
                    </a:lnTo>
                    <a:lnTo>
                      <a:pt x="5073" y="332"/>
                    </a:lnTo>
                    <a:lnTo>
                      <a:pt x="5090" y="346"/>
                    </a:lnTo>
                    <a:lnTo>
                      <a:pt x="5113" y="363"/>
                    </a:lnTo>
                    <a:lnTo>
                      <a:pt x="5140" y="382"/>
                    </a:lnTo>
                    <a:lnTo>
                      <a:pt x="5171" y="407"/>
                    </a:lnTo>
                    <a:lnTo>
                      <a:pt x="5209" y="436"/>
                    </a:lnTo>
                    <a:lnTo>
                      <a:pt x="5253" y="470"/>
                    </a:lnTo>
                    <a:lnTo>
                      <a:pt x="5303" y="509"/>
                    </a:lnTo>
                    <a:lnTo>
                      <a:pt x="5361" y="555"/>
                    </a:lnTo>
                    <a:lnTo>
                      <a:pt x="5426" y="605"/>
                    </a:lnTo>
                    <a:lnTo>
                      <a:pt x="5426" y="605"/>
                    </a:lnTo>
                    <a:lnTo>
                      <a:pt x="5428" y="607"/>
                    </a:lnTo>
                    <a:lnTo>
                      <a:pt x="5430" y="608"/>
                    </a:lnTo>
                    <a:lnTo>
                      <a:pt x="5434" y="614"/>
                    </a:lnTo>
                    <a:lnTo>
                      <a:pt x="5441" y="624"/>
                    </a:lnTo>
                    <a:lnTo>
                      <a:pt x="5451" y="637"/>
                    </a:lnTo>
                    <a:lnTo>
                      <a:pt x="5464" y="656"/>
                    </a:lnTo>
                    <a:lnTo>
                      <a:pt x="5484" y="681"/>
                    </a:lnTo>
                    <a:lnTo>
                      <a:pt x="5509" y="712"/>
                    </a:lnTo>
                    <a:lnTo>
                      <a:pt x="5509" y="712"/>
                    </a:lnTo>
                    <a:lnTo>
                      <a:pt x="5509" y="714"/>
                    </a:lnTo>
                    <a:lnTo>
                      <a:pt x="5509" y="714"/>
                    </a:lnTo>
                    <a:lnTo>
                      <a:pt x="5511" y="716"/>
                    </a:lnTo>
                    <a:lnTo>
                      <a:pt x="5512" y="720"/>
                    </a:lnTo>
                    <a:lnTo>
                      <a:pt x="5516" y="724"/>
                    </a:lnTo>
                    <a:lnTo>
                      <a:pt x="5520" y="731"/>
                    </a:lnTo>
                    <a:lnTo>
                      <a:pt x="5528" y="741"/>
                    </a:lnTo>
                    <a:lnTo>
                      <a:pt x="5535" y="752"/>
                    </a:lnTo>
                    <a:lnTo>
                      <a:pt x="5545" y="766"/>
                    </a:lnTo>
                    <a:lnTo>
                      <a:pt x="5557" y="785"/>
                    </a:lnTo>
                    <a:lnTo>
                      <a:pt x="5572" y="806"/>
                    </a:lnTo>
                    <a:lnTo>
                      <a:pt x="5589" y="831"/>
                    </a:lnTo>
                    <a:lnTo>
                      <a:pt x="5610" y="860"/>
                    </a:lnTo>
                    <a:lnTo>
                      <a:pt x="5633" y="894"/>
                    </a:lnTo>
                    <a:lnTo>
                      <a:pt x="5660" y="933"/>
                    </a:lnTo>
                    <a:lnTo>
                      <a:pt x="5689" y="977"/>
                    </a:lnTo>
                    <a:lnTo>
                      <a:pt x="5724" y="1027"/>
                    </a:lnTo>
                    <a:lnTo>
                      <a:pt x="5762" y="1082"/>
                    </a:lnTo>
                    <a:lnTo>
                      <a:pt x="5804" y="1144"/>
                    </a:lnTo>
                    <a:lnTo>
                      <a:pt x="5850" y="1211"/>
                    </a:lnTo>
                    <a:lnTo>
                      <a:pt x="5902" y="1286"/>
                    </a:lnTo>
                    <a:lnTo>
                      <a:pt x="5958" y="1368"/>
                    </a:lnTo>
                    <a:lnTo>
                      <a:pt x="6019" y="1459"/>
                    </a:lnTo>
                    <a:lnTo>
                      <a:pt x="6087" y="1554"/>
                    </a:lnTo>
                    <a:lnTo>
                      <a:pt x="6158" y="1660"/>
                    </a:lnTo>
                    <a:lnTo>
                      <a:pt x="6236" y="1773"/>
                    </a:lnTo>
                    <a:lnTo>
                      <a:pt x="6321" y="1896"/>
                    </a:lnTo>
                    <a:lnTo>
                      <a:pt x="0" y="1896"/>
                    </a:lnTo>
                    <a:lnTo>
                      <a:pt x="0" y="1896"/>
                    </a:lnTo>
                    <a:lnTo>
                      <a:pt x="0" y="1896"/>
                    </a:lnTo>
                    <a:lnTo>
                      <a:pt x="0" y="1894"/>
                    </a:lnTo>
                    <a:lnTo>
                      <a:pt x="4" y="1892"/>
                    </a:lnTo>
                    <a:lnTo>
                      <a:pt x="6" y="1890"/>
                    </a:lnTo>
                    <a:lnTo>
                      <a:pt x="12" y="1884"/>
                    </a:lnTo>
                    <a:lnTo>
                      <a:pt x="20" y="1879"/>
                    </a:lnTo>
                    <a:lnTo>
                      <a:pt x="29" y="1869"/>
                    </a:lnTo>
                    <a:lnTo>
                      <a:pt x="41" y="1860"/>
                    </a:lnTo>
                    <a:lnTo>
                      <a:pt x="56" y="1846"/>
                    </a:lnTo>
                    <a:lnTo>
                      <a:pt x="75" y="1829"/>
                    </a:lnTo>
                    <a:lnTo>
                      <a:pt x="98" y="1808"/>
                    </a:lnTo>
                    <a:lnTo>
                      <a:pt x="125" y="1785"/>
                    </a:lnTo>
                    <a:lnTo>
                      <a:pt x="156" y="1756"/>
                    </a:lnTo>
                    <a:lnTo>
                      <a:pt x="192" y="1725"/>
                    </a:lnTo>
                    <a:lnTo>
                      <a:pt x="235" y="1689"/>
                    </a:lnTo>
                    <a:lnTo>
                      <a:pt x="281" y="1647"/>
                    </a:lnTo>
                    <a:lnTo>
                      <a:pt x="335" y="1601"/>
                    </a:lnTo>
                    <a:lnTo>
                      <a:pt x="392" y="1549"/>
                    </a:lnTo>
                    <a:lnTo>
                      <a:pt x="457" y="1491"/>
                    </a:lnTo>
                    <a:lnTo>
                      <a:pt x="530" y="1426"/>
                    </a:lnTo>
                    <a:lnTo>
                      <a:pt x="609" y="1357"/>
                    </a:lnTo>
                    <a:lnTo>
                      <a:pt x="696" y="1280"/>
                    </a:lnTo>
                    <a:lnTo>
                      <a:pt x="742" y="1259"/>
                    </a:lnTo>
                    <a:lnTo>
                      <a:pt x="782" y="1240"/>
                    </a:lnTo>
                    <a:lnTo>
                      <a:pt x="820" y="1222"/>
                    </a:lnTo>
                    <a:lnTo>
                      <a:pt x="851" y="1207"/>
                    </a:lnTo>
                    <a:lnTo>
                      <a:pt x="878" y="1196"/>
                    </a:lnTo>
                    <a:lnTo>
                      <a:pt x="897" y="1186"/>
                    </a:lnTo>
                    <a:lnTo>
                      <a:pt x="909" y="1180"/>
                    </a:lnTo>
                    <a:lnTo>
                      <a:pt x="915" y="1178"/>
                    </a:lnTo>
                    <a:lnTo>
                      <a:pt x="1070" y="1178"/>
                    </a:lnTo>
                    <a:lnTo>
                      <a:pt x="1070" y="1178"/>
                    </a:lnTo>
                    <a:lnTo>
                      <a:pt x="1072" y="1178"/>
                    </a:lnTo>
                    <a:lnTo>
                      <a:pt x="1072" y="1182"/>
                    </a:lnTo>
                    <a:lnTo>
                      <a:pt x="1076" y="1188"/>
                    </a:lnTo>
                    <a:lnTo>
                      <a:pt x="1080" y="1199"/>
                    </a:lnTo>
                    <a:lnTo>
                      <a:pt x="1087" y="1213"/>
                    </a:lnTo>
                    <a:lnTo>
                      <a:pt x="1097" y="1234"/>
                    </a:lnTo>
                    <a:lnTo>
                      <a:pt x="1110" y="1263"/>
                    </a:lnTo>
                    <a:lnTo>
                      <a:pt x="1128" y="1299"/>
                    </a:lnTo>
                    <a:lnTo>
                      <a:pt x="1149" y="1343"/>
                    </a:lnTo>
                    <a:lnTo>
                      <a:pt x="1149" y="1343"/>
                    </a:lnTo>
                    <a:lnTo>
                      <a:pt x="1149" y="1343"/>
                    </a:lnTo>
                    <a:lnTo>
                      <a:pt x="1151" y="1341"/>
                    </a:lnTo>
                    <a:lnTo>
                      <a:pt x="1155" y="1338"/>
                    </a:lnTo>
                    <a:lnTo>
                      <a:pt x="1158" y="1332"/>
                    </a:lnTo>
                    <a:lnTo>
                      <a:pt x="1166" y="1324"/>
                    </a:lnTo>
                    <a:lnTo>
                      <a:pt x="1176" y="1313"/>
                    </a:lnTo>
                    <a:lnTo>
                      <a:pt x="1189" y="1299"/>
                    </a:lnTo>
                    <a:lnTo>
                      <a:pt x="1205" y="1280"/>
                    </a:lnTo>
                    <a:lnTo>
                      <a:pt x="1226" y="1255"/>
                    </a:lnTo>
                    <a:lnTo>
                      <a:pt x="1253" y="1226"/>
                    </a:lnTo>
                    <a:lnTo>
                      <a:pt x="1283" y="1192"/>
                    </a:lnTo>
                    <a:lnTo>
                      <a:pt x="1320" y="1150"/>
                    </a:lnTo>
                    <a:lnTo>
                      <a:pt x="1362" y="1102"/>
                    </a:lnTo>
                    <a:lnTo>
                      <a:pt x="1410" y="1048"/>
                    </a:lnTo>
                    <a:lnTo>
                      <a:pt x="1410" y="1048"/>
                    </a:lnTo>
                    <a:lnTo>
                      <a:pt x="1412" y="1046"/>
                    </a:lnTo>
                    <a:lnTo>
                      <a:pt x="1414" y="1046"/>
                    </a:lnTo>
                    <a:lnTo>
                      <a:pt x="1422" y="1046"/>
                    </a:lnTo>
                    <a:lnTo>
                      <a:pt x="1431" y="1044"/>
                    </a:lnTo>
                    <a:lnTo>
                      <a:pt x="1447" y="1042"/>
                    </a:lnTo>
                    <a:lnTo>
                      <a:pt x="1468" y="1038"/>
                    </a:lnTo>
                    <a:lnTo>
                      <a:pt x="1496" y="1034"/>
                    </a:lnTo>
                    <a:lnTo>
                      <a:pt x="1533" y="1029"/>
                    </a:lnTo>
                    <a:lnTo>
                      <a:pt x="1577" y="1021"/>
                    </a:lnTo>
                    <a:lnTo>
                      <a:pt x="1633" y="1011"/>
                    </a:lnTo>
                    <a:lnTo>
                      <a:pt x="1633" y="1011"/>
                    </a:lnTo>
                    <a:lnTo>
                      <a:pt x="1635" y="1013"/>
                    </a:lnTo>
                    <a:lnTo>
                      <a:pt x="1639" y="1013"/>
                    </a:lnTo>
                    <a:lnTo>
                      <a:pt x="1642" y="1013"/>
                    </a:lnTo>
                    <a:lnTo>
                      <a:pt x="1652" y="1017"/>
                    </a:lnTo>
                    <a:lnTo>
                      <a:pt x="1666" y="1019"/>
                    </a:lnTo>
                    <a:lnTo>
                      <a:pt x="1685" y="1023"/>
                    </a:lnTo>
                    <a:lnTo>
                      <a:pt x="1712" y="1029"/>
                    </a:lnTo>
                    <a:lnTo>
                      <a:pt x="1744" y="1036"/>
                    </a:lnTo>
                    <a:lnTo>
                      <a:pt x="1785" y="1046"/>
                    </a:lnTo>
                    <a:lnTo>
                      <a:pt x="1835" y="1057"/>
                    </a:lnTo>
                    <a:lnTo>
                      <a:pt x="1894" y="1071"/>
                    </a:lnTo>
                    <a:lnTo>
                      <a:pt x="1894" y="1071"/>
                    </a:lnTo>
                    <a:lnTo>
                      <a:pt x="1896" y="1069"/>
                    </a:lnTo>
                    <a:lnTo>
                      <a:pt x="1896" y="1069"/>
                    </a:lnTo>
                    <a:lnTo>
                      <a:pt x="1898" y="1065"/>
                    </a:lnTo>
                    <a:lnTo>
                      <a:pt x="1902" y="1061"/>
                    </a:lnTo>
                    <a:lnTo>
                      <a:pt x="1906" y="1056"/>
                    </a:lnTo>
                    <a:lnTo>
                      <a:pt x="1911" y="1046"/>
                    </a:lnTo>
                    <a:lnTo>
                      <a:pt x="1921" y="1034"/>
                    </a:lnTo>
                    <a:lnTo>
                      <a:pt x="1932" y="1021"/>
                    </a:lnTo>
                    <a:lnTo>
                      <a:pt x="1946" y="1002"/>
                    </a:lnTo>
                    <a:lnTo>
                      <a:pt x="1963" y="979"/>
                    </a:lnTo>
                    <a:lnTo>
                      <a:pt x="1982" y="952"/>
                    </a:lnTo>
                    <a:lnTo>
                      <a:pt x="2005" y="919"/>
                    </a:lnTo>
                    <a:lnTo>
                      <a:pt x="2034" y="881"/>
                    </a:lnTo>
                    <a:lnTo>
                      <a:pt x="2067" y="839"/>
                    </a:lnTo>
                    <a:lnTo>
                      <a:pt x="2103" y="789"/>
                    </a:lnTo>
                    <a:lnTo>
                      <a:pt x="2144" y="733"/>
                    </a:lnTo>
                    <a:lnTo>
                      <a:pt x="2192" y="670"/>
                    </a:lnTo>
                    <a:lnTo>
                      <a:pt x="2244" y="599"/>
                    </a:lnTo>
                    <a:lnTo>
                      <a:pt x="2301" y="520"/>
                    </a:lnTo>
                    <a:lnTo>
                      <a:pt x="2365" y="434"/>
                    </a:lnTo>
                    <a:lnTo>
                      <a:pt x="2365" y="434"/>
                    </a:lnTo>
                    <a:lnTo>
                      <a:pt x="2367" y="434"/>
                    </a:lnTo>
                    <a:lnTo>
                      <a:pt x="2368" y="432"/>
                    </a:lnTo>
                    <a:lnTo>
                      <a:pt x="2374" y="432"/>
                    </a:lnTo>
                    <a:lnTo>
                      <a:pt x="2382" y="430"/>
                    </a:lnTo>
                    <a:lnTo>
                      <a:pt x="2393" y="426"/>
                    </a:lnTo>
                    <a:lnTo>
                      <a:pt x="2411" y="422"/>
                    </a:lnTo>
                    <a:lnTo>
                      <a:pt x="2432" y="417"/>
                    </a:lnTo>
                    <a:lnTo>
                      <a:pt x="2461" y="411"/>
                    </a:lnTo>
                    <a:lnTo>
                      <a:pt x="2495" y="401"/>
                    </a:lnTo>
                    <a:lnTo>
                      <a:pt x="2539" y="392"/>
                    </a:lnTo>
                    <a:lnTo>
                      <a:pt x="2591" y="378"/>
                    </a:lnTo>
                    <a:lnTo>
                      <a:pt x="2653" y="365"/>
                    </a:lnTo>
                    <a:lnTo>
                      <a:pt x="2726" y="346"/>
                    </a:lnTo>
                    <a:lnTo>
                      <a:pt x="2726" y="346"/>
                    </a:lnTo>
                    <a:lnTo>
                      <a:pt x="2726" y="348"/>
                    </a:lnTo>
                    <a:lnTo>
                      <a:pt x="2728" y="348"/>
                    </a:lnTo>
                    <a:lnTo>
                      <a:pt x="2730" y="351"/>
                    </a:lnTo>
                    <a:lnTo>
                      <a:pt x="2735" y="353"/>
                    </a:lnTo>
                    <a:lnTo>
                      <a:pt x="2743" y="359"/>
                    </a:lnTo>
                    <a:lnTo>
                      <a:pt x="2754" y="369"/>
                    </a:lnTo>
                    <a:lnTo>
                      <a:pt x="2770" y="378"/>
                    </a:lnTo>
                    <a:lnTo>
                      <a:pt x="2789" y="392"/>
                    </a:lnTo>
                    <a:lnTo>
                      <a:pt x="2812" y="409"/>
                    </a:lnTo>
                    <a:lnTo>
                      <a:pt x="2841" y="428"/>
                    </a:lnTo>
                    <a:lnTo>
                      <a:pt x="2875" y="453"/>
                    </a:lnTo>
                    <a:lnTo>
                      <a:pt x="2918" y="482"/>
                    </a:lnTo>
                    <a:lnTo>
                      <a:pt x="2966" y="516"/>
                    </a:lnTo>
                    <a:lnTo>
                      <a:pt x="3021" y="557"/>
                    </a:lnTo>
                    <a:lnTo>
                      <a:pt x="3021" y="557"/>
                    </a:lnTo>
                    <a:lnTo>
                      <a:pt x="3021" y="555"/>
                    </a:lnTo>
                    <a:lnTo>
                      <a:pt x="3023" y="555"/>
                    </a:lnTo>
                    <a:lnTo>
                      <a:pt x="3027" y="553"/>
                    </a:lnTo>
                    <a:lnTo>
                      <a:pt x="3033" y="551"/>
                    </a:lnTo>
                    <a:lnTo>
                      <a:pt x="3041" y="547"/>
                    </a:lnTo>
                    <a:lnTo>
                      <a:pt x="3052" y="543"/>
                    </a:lnTo>
                    <a:lnTo>
                      <a:pt x="3068" y="537"/>
                    </a:lnTo>
                    <a:lnTo>
                      <a:pt x="3089" y="530"/>
                    </a:lnTo>
                    <a:lnTo>
                      <a:pt x="3114" y="520"/>
                    </a:lnTo>
                    <a:lnTo>
                      <a:pt x="3144" y="509"/>
                    </a:lnTo>
                    <a:lnTo>
                      <a:pt x="3181" y="493"/>
                    </a:lnTo>
                    <a:lnTo>
                      <a:pt x="3225" y="476"/>
                    </a:lnTo>
                    <a:lnTo>
                      <a:pt x="3275" y="457"/>
                    </a:lnTo>
                    <a:lnTo>
                      <a:pt x="3333" y="434"/>
                    </a:lnTo>
                    <a:lnTo>
                      <a:pt x="3400" y="409"/>
                    </a:lnTo>
                    <a:lnTo>
                      <a:pt x="3475" y="380"/>
                    </a:lnTo>
                    <a:lnTo>
                      <a:pt x="3561" y="346"/>
                    </a:lnTo>
                    <a:lnTo>
                      <a:pt x="3561" y="346"/>
                    </a:lnTo>
                    <a:lnTo>
                      <a:pt x="3561" y="346"/>
                    </a:lnTo>
                    <a:lnTo>
                      <a:pt x="3563" y="344"/>
                    </a:lnTo>
                    <a:lnTo>
                      <a:pt x="3565" y="342"/>
                    </a:lnTo>
                    <a:lnTo>
                      <a:pt x="3569" y="338"/>
                    </a:lnTo>
                    <a:lnTo>
                      <a:pt x="3575" y="332"/>
                    </a:lnTo>
                    <a:lnTo>
                      <a:pt x="3584" y="323"/>
                    </a:lnTo>
                    <a:lnTo>
                      <a:pt x="3596" y="311"/>
                    </a:lnTo>
                    <a:lnTo>
                      <a:pt x="3609" y="296"/>
                    </a:lnTo>
                    <a:lnTo>
                      <a:pt x="3626" y="277"/>
                    </a:lnTo>
                    <a:lnTo>
                      <a:pt x="3649" y="254"/>
                    </a:lnTo>
                    <a:lnTo>
                      <a:pt x="3676" y="225"/>
                    </a:lnTo>
                    <a:lnTo>
                      <a:pt x="3707" y="192"/>
                    </a:lnTo>
                    <a:lnTo>
                      <a:pt x="3744" y="154"/>
                    </a:lnTo>
                    <a:lnTo>
                      <a:pt x="3786" y="110"/>
                    </a:lnTo>
                    <a:lnTo>
                      <a:pt x="3834" y="58"/>
                    </a:lnTo>
                    <a:lnTo>
                      <a:pt x="3888" y="0"/>
                    </a:lnTo>
                    <a:close/>
                  </a:path>
                </a:pathLst>
              </a:custGeom>
              <a:solidFill>
                <a:srgbClr val="E4ECE9"/>
              </a:solidFill>
              <a:ln w="0">
                <a:solidFill>
                  <a:srgbClr val="E4ECE9"/>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55" name="Freeform 873"/>
              <p:cNvSpPr>
                <a:spLocks/>
              </p:cNvSpPr>
              <p:nvPr/>
            </p:nvSpPr>
            <p:spPr bwMode="auto">
              <a:xfrm>
                <a:off x="4746626" y="5224463"/>
                <a:ext cx="768350" cy="441325"/>
              </a:xfrm>
              <a:custGeom>
                <a:avLst/>
                <a:gdLst>
                  <a:gd name="T0" fmla="*/ 227 w 484"/>
                  <a:gd name="T1" fmla="*/ 0 h 278"/>
                  <a:gd name="T2" fmla="*/ 484 w 484"/>
                  <a:gd name="T3" fmla="*/ 278 h 278"/>
                  <a:gd name="T4" fmla="*/ 223 w 484"/>
                  <a:gd name="T5" fmla="*/ 221 h 278"/>
                  <a:gd name="T6" fmla="*/ 0 w 484"/>
                  <a:gd name="T7" fmla="*/ 255 h 278"/>
                  <a:gd name="T8" fmla="*/ 227 w 484"/>
                  <a:gd name="T9" fmla="*/ 0 h 278"/>
                </a:gdLst>
                <a:ahLst/>
                <a:cxnLst>
                  <a:cxn ang="0">
                    <a:pos x="T0" y="T1"/>
                  </a:cxn>
                  <a:cxn ang="0">
                    <a:pos x="T2" y="T3"/>
                  </a:cxn>
                  <a:cxn ang="0">
                    <a:pos x="T4" y="T5"/>
                  </a:cxn>
                  <a:cxn ang="0">
                    <a:pos x="T6" y="T7"/>
                  </a:cxn>
                  <a:cxn ang="0">
                    <a:pos x="T8" y="T9"/>
                  </a:cxn>
                </a:cxnLst>
                <a:rect l="0" t="0" r="r" b="b"/>
                <a:pathLst>
                  <a:path w="484" h="278">
                    <a:moveTo>
                      <a:pt x="227" y="0"/>
                    </a:moveTo>
                    <a:lnTo>
                      <a:pt x="484" y="278"/>
                    </a:lnTo>
                    <a:lnTo>
                      <a:pt x="223" y="221"/>
                    </a:lnTo>
                    <a:lnTo>
                      <a:pt x="0" y="255"/>
                    </a:lnTo>
                    <a:lnTo>
                      <a:pt x="227" y="0"/>
                    </a:lnTo>
                    <a:close/>
                  </a:path>
                </a:pathLst>
              </a:custGeom>
              <a:solidFill>
                <a:schemeClr val="tx2">
                  <a:lumMod val="10000"/>
                  <a:lumOff val="9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56" name="Freeform 874"/>
              <p:cNvSpPr>
                <a:spLocks/>
              </p:cNvSpPr>
              <p:nvPr/>
            </p:nvSpPr>
            <p:spPr bwMode="auto">
              <a:xfrm>
                <a:off x="10164763" y="4262438"/>
                <a:ext cx="960438" cy="795338"/>
              </a:xfrm>
              <a:custGeom>
                <a:avLst/>
                <a:gdLst>
                  <a:gd name="T0" fmla="*/ 286 w 605"/>
                  <a:gd name="T1" fmla="*/ 0 h 501"/>
                  <a:gd name="T2" fmla="*/ 605 w 605"/>
                  <a:gd name="T3" fmla="*/ 418 h 501"/>
                  <a:gd name="T4" fmla="*/ 301 w 605"/>
                  <a:gd name="T5" fmla="*/ 224 h 501"/>
                  <a:gd name="T6" fmla="*/ 0 w 605"/>
                  <a:gd name="T7" fmla="*/ 501 h 501"/>
                  <a:gd name="T8" fmla="*/ 286 w 605"/>
                  <a:gd name="T9" fmla="*/ 0 h 501"/>
                </a:gdLst>
                <a:ahLst/>
                <a:cxnLst>
                  <a:cxn ang="0">
                    <a:pos x="T0" y="T1"/>
                  </a:cxn>
                  <a:cxn ang="0">
                    <a:pos x="T2" y="T3"/>
                  </a:cxn>
                  <a:cxn ang="0">
                    <a:pos x="T4" y="T5"/>
                  </a:cxn>
                  <a:cxn ang="0">
                    <a:pos x="T6" y="T7"/>
                  </a:cxn>
                  <a:cxn ang="0">
                    <a:pos x="T8" y="T9"/>
                  </a:cxn>
                </a:cxnLst>
                <a:rect l="0" t="0" r="r" b="b"/>
                <a:pathLst>
                  <a:path w="605" h="501">
                    <a:moveTo>
                      <a:pt x="286" y="0"/>
                    </a:moveTo>
                    <a:lnTo>
                      <a:pt x="605" y="418"/>
                    </a:lnTo>
                    <a:lnTo>
                      <a:pt x="301" y="224"/>
                    </a:lnTo>
                    <a:lnTo>
                      <a:pt x="0" y="501"/>
                    </a:lnTo>
                    <a:lnTo>
                      <a:pt x="286" y="0"/>
                    </a:lnTo>
                    <a:close/>
                  </a:path>
                </a:pathLst>
              </a:custGeom>
              <a:solidFill>
                <a:schemeClr val="tx2">
                  <a:lumMod val="10000"/>
                  <a:lumOff val="9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57" name="Freeform 875"/>
              <p:cNvSpPr>
                <a:spLocks/>
              </p:cNvSpPr>
              <p:nvPr/>
            </p:nvSpPr>
            <p:spPr bwMode="auto">
              <a:xfrm>
                <a:off x="3613151" y="5399088"/>
                <a:ext cx="593725" cy="600075"/>
              </a:xfrm>
              <a:custGeom>
                <a:avLst/>
                <a:gdLst>
                  <a:gd name="T0" fmla="*/ 244 w 374"/>
                  <a:gd name="T1" fmla="*/ 0 h 378"/>
                  <a:gd name="T2" fmla="*/ 244 w 374"/>
                  <a:gd name="T3" fmla="*/ 0 h 378"/>
                  <a:gd name="T4" fmla="*/ 244 w 374"/>
                  <a:gd name="T5" fmla="*/ 1 h 378"/>
                  <a:gd name="T6" fmla="*/ 245 w 374"/>
                  <a:gd name="T7" fmla="*/ 3 h 378"/>
                  <a:gd name="T8" fmla="*/ 247 w 374"/>
                  <a:gd name="T9" fmla="*/ 7 h 378"/>
                  <a:gd name="T10" fmla="*/ 251 w 374"/>
                  <a:gd name="T11" fmla="*/ 15 h 378"/>
                  <a:gd name="T12" fmla="*/ 255 w 374"/>
                  <a:gd name="T13" fmla="*/ 26 h 378"/>
                  <a:gd name="T14" fmla="*/ 263 w 374"/>
                  <a:gd name="T15" fmla="*/ 42 h 378"/>
                  <a:gd name="T16" fmla="*/ 274 w 374"/>
                  <a:gd name="T17" fmla="*/ 65 h 378"/>
                  <a:gd name="T18" fmla="*/ 286 w 374"/>
                  <a:gd name="T19" fmla="*/ 92 h 378"/>
                  <a:gd name="T20" fmla="*/ 303 w 374"/>
                  <a:gd name="T21" fmla="*/ 126 h 378"/>
                  <a:gd name="T22" fmla="*/ 322 w 374"/>
                  <a:gd name="T23" fmla="*/ 166 h 378"/>
                  <a:gd name="T24" fmla="*/ 345 w 374"/>
                  <a:gd name="T25" fmla="*/ 216 h 378"/>
                  <a:gd name="T26" fmla="*/ 374 w 374"/>
                  <a:gd name="T27" fmla="*/ 276 h 378"/>
                  <a:gd name="T28" fmla="*/ 217 w 374"/>
                  <a:gd name="T29" fmla="*/ 276 h 378"/>
                  <a:gd name="T30" fmla="*/ 213 w 374"/>
                  <a:gd name="T31" fmla="*/ 278 h 378"/>
                  <a:gd name="T32" fmla="*/ 201 w 374"/>
                  <a:gd name="T33" fmla="*/ 284 h 378"/>
                  <a:gd name="T34" fmla="*/ 182 w 374"/>
                  <a:gd name="T35" fmla="*/ 293 h 378"/>
                  <a:gd name="T36" fmla="*/ 155 w 374"/>
                  <a:gd name="T37" fmla="*/ 305 h 378"/>
                  <a:gd name="T38" fmla="*/ 123 w 374"/>
                  <a:gd name="T39" fmla="*/ 320 h 378"/>
                  <a:gd name="T40" fmla="*/ 86 w 374"/>
                  <a:gd name="T41" fmla="*/ 337 h 378"/>
                  <a:gd name="T42" fmla="*/ 46 w 374"/>
                  <a:gd name="T43" fmla="*/ 356 h 378"/>
                  <a:gd name="T44" fmla="*/ 0 w 374"/>
                  <a:gd name="T45" fmla="*/ 378 h 378"/>
                  <a:gd name="T46" fmla="*/ 0 w 374"/>
                  <a:gd name="T47" fmla="*/ 378 h 378"/>
                  <a:gd name="T48" fmla="*/ 2 w 374"/>
                  <a:gd name="T49" fmla="*/ 378 h 378"/>
                  <a:gd name="T50" fmla="*/ 2 w 374"/>
                  <a:gd name="T51" fmla="*/ 376 h 378"/>
                  <a:gd name="T52" fmla="*/ 3 w 374"/>
                  <a:gd name="T53" fmla="*/ 372 h 378"/>
                  <a:gd name="T54" fmla="*/ 7 w 374"/>
                  <a:gd name="T55" fmla="*/ 366 h 378"/>
                  <a:gd name="T56" fmla="*/ 13 w 374"/>
                  <a:gd name="T57" fmla="*/ 358 h 378"/>
                  <a:gd name="T58" fmla="*/ 21 w 374"/>
                  <a:gd name="T59" fmla="*/ 347 h 378"/>
                  <a:gd name="T60" fmla="*/ 30 w 374"/>
                  <a:gd name="T61" fmla="*/ 331 h 378"/>
                  <a:gd name="T62" fmla="*/ 44 w 374"/>
                  <a:gd name="T63" fmla="*/ 310 h 378"/>
                  <a:gd name="T64" fmla="*/ 59 w 374"/>
                  <a:gd name="T65" fmla="*/ 285 h 378"/>
                  <a:gd name="T66" fmla="*/ 78 w 374"/>
                  <a:gd name="T67" fmla="*/ 255 h 378"/>
                  <a:gd name="T68" fmla="*/ 103 w 374"/>
                  <a:gd name="T69" fmla="*/ 218 h 378"/>
                  <a:gd name="T70" fmla="*/ 130 w 374"/>
                  <a:gd name="T71" fmla="*/ 174 h 378"/>
                  <a:gd name="T72" fmla="*/ 163 w 374"/>
                  <a:gd name="T73" fmla="*/ 124 h 378"/>
                  <a:gd name="T74" fmla="*/ 201 w 374"/>
                  <a:gd name="T75" fmla="*/ 67 h 378"/>
                  <a:gd name="T76" fmla="*/ 244 w 374"/>
                  <a:gd name="T77"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4" h="378">
                    <a:moveTo>
                      <a:pt x="244" y="0"/>
                    </a:moveTo>
                    <a:lnTo>
                      <a:pt x="244" y="0"/>
                    </a:lnTo>
                    <a:lnTo>
                      <a:pt x="244" y="1"/>
                    </a:lnTo>
                    <a:lnTo>
                      <a:pt x="245" y="3"/>
                    </a:lnTo>
                    <a:lnTo>
                      <a:pt x="247" y="7"/>
                    </a:lnTo>
                    <a:lnTo>
                      <a:pt x="251" y="15"/>
                    </a:lnTo>
                    <a:lnTo>
                      <a:pt x="255" y="26"/>
                    </a:lnTo>
                    <a:lnTo>
                      <a:pt x="263" y="42"/>
                    </a:lnTo>
                    <a:lnTo>
                      <a:pt x="274" y="65"/>
                    </a:lnTo>
                    <a:lnTo>
                      <a:pt x="286" y="92"/>
                    </a:lnTo>
                    <a:lnTo>
                      <a:pt x="303" y="126"/>
                    </a:lnTo>
                    <a:lnTo>
                      <a:pt x="322" y="166"/>
                    </a:lnTo>
                    <a:lnTo>
                      <a:pt x="345" y="216"/>
                    </a:lnTo>
                    <a:lnTo>
                      <a:pt x="374" y="276"/>
                    </a:lnTo>
                    <a:lnTo>
                      <a:pt x="217" y="276"/>
                    </a:lnTo>
                    <a:lnTo>
                      <a:pt x="213" y="278"/>
                    </a:lnTo>
                    <a:lnTo>
                      <a:pt x="201" y="284"/>
                    </a:lnTo>
                    <a:lnTo>
                      <a:pt x="182" y="293"/>
                    </a:lnTo>
                    <a:lnTo>
                      <a:pt x="155" y="305"/>
                    </a:lnTo>
                    <a:lnTo>
                      <a:pt x="123" y="320"/>
                    </a:lnTo>
                    <a:lnTo>
                      <a:pt x="86" y="337"/>
                    </a:lnTo>
                    <a:lnTo>
                      <a:pt x="46" y="356"/>
                    </a:lnTo>
                    <a:lnTo>
                      <a:pt x="0" y="378"/>
                    </a:lnTo>
                    <a:lnTo>
                      <a:pt x="0" y="378"/>
                    </a:lnTo>
                    <a:lnTo>
                      <a:pt x="2" y="378"/>
                    </a:lnTo>
                    <a:lnTo>
                      <a:pt x="2" y="376"/>
                    </a:lnTo>
                    <a:lnTo>
                      <a:pt x="3" y="372"/>
                    </a:lnTo>
                    <a:lnTo>
                      <a:pt x="7" y="366"/>
                    </a:lnTo>
                    <a:lnTo>
                      <a:pt x="13" y="358"/>
                    </a:lnTo>
                    <a:lnTo>
                      <a:pt x="21" y="347"/>
                    </a:lnTo>
                    <a:lnTo>
                      <a:pt x="30" y="331"/>
                    </a:lnTo>
                    <a:lnTo>
                      <a:pt x="44" y="310"/>
                    </a:lnTo>
                    <a:lnTo>
                      <a:pt x="59" y="285"/>
                    </a:lnTo>
                    <a:lnTo>
                      <a:pt x="78" y="255"/>
                    </a:lnTo>
                    <a:lnTo>
                      <a:pt x="103" y="218"/>
                    </a:lnTo>
                    <a:lnTo>
                      <a:pt x="130" y="174"/>
                    </a:lnTo>
                    <a:lnTo>
                      <a:pt x="163" y="124"/>
                    </a:lnTo>
                    <a:lnTo>
                      <a:pt x="201" y="67"/>
                    </a:lnTo>
                    <a:lnTo>
                      <a:pt x="244" y="0"/>
                    </a:lnTo>
                    <a:close/>
                  </a:path>
                </a:pathLst>
              </a:custGeom>
              <a:solidFill>
                <a:schemeClr val="tx2">
                  <a:lumMod val="10000"/>
                  <a:lumOff val="9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58" name="Freeform 876"/>
              <p:cNvSpPr>
                <a:spLocks/>
              </p:cNvSpPr>
              <p:nvPr/>
            </p:nvSpPr>
            <p:spPr bwMode="auto">
              <a:xfrm>
                <a:off x="10909301" y="4240214"/>
                <a:ext cx="1282700" cy="638493"/>
              </a:xfrm>
              <a:custGeom>
                <a:avLst/>
                <a:gdLst>
                  <a:gd name="T0" fmla="*/ 353 w 808"/>
                  <a:gd name="T1" fmla="*/ 0 h 530"/>
                  <a:gd name="T2" fmla="*/ 397 w 808"/>
                  <a:gd name="T3" fmla="*/ 4 h 530"/>
                  <a:gd name="T4" fmla="*/ 439 w 808"/>
                  <a:gd name="T5" fmla="*/ 18 h 530"/>
                  <a:gd name="T6" fmla="*/ 476 w 808"/>
                  <a:gd name="T7" fmla="*/ 39 h 530"/>
                  <a:gd name="T8" fmla="*/ 510 w 808"/>
                  <a:gd name="T9" fmla="*/ 66 h 530"/>
                  <a:gd name="T10" fmla="*/ 537 w 808"/>
                  <a:gd name="T11" fmla="*/ 98 h 530"/>
                  <a:gd name="T12" fmla="*/ 557 w 808"/>
                  <a:gd name="T13" fmla="*/ 91 h 530"/>
                  <a:gd name="T14" fmla="*/ 578 w 808"/>
                  <a:gd name="T15" fmla="*/ 85 h 530"/>
                  <a:gd name="T16" fmla="*/ 599 w 808"/>
                  <a:gd name="T17" fmla="*/ 83 h 530"/>
                  <a:gd name="T18" fmla="*/ 624 w 808"/>
                  <a:gd name="T19" fmla="*/ 85 h 530"/>
                  <a:gd name="T20" fmla="*/ 649 w 808"/>
                  <a:gd name="T21" fmla="*/ 93 h 530"/>
                  <a:gd name="T22" fmla="*/ 670 w 808"/>
                  <a:gd name="T23" fmla="*/ 106 h 530"/>
                  <a:gd name="T24" fmla="*/ 693 w 808"/>
                  <a:gd name="T25" fmla="*/ 127 h 530"/>
                  <a:gd name="T26" fmla="*/ 712 w 808"/>
                  <a:gd name="T27" fmla="*/ 150 h 530"/>
                  <a:gd name="T28" fmla="*/ 724 w 808"/>
                  <a:gd name="T29" fmla="*/ 177 h 530"/>
                  <a:gd name="T30" fmla="*/ 729 w 808"/>
                  <a:gd name="T31" fmla="*/ 210 h 530"/>
                  <a:gd name="T32" fmla="*/ 762 w 808"/>
                  <a:gd name="T33" fmla="*/ 236 h 530"/>
                  <a:gd name="T34" fmla="*/ 785 w 808"/>
                  <a:gd name="T35" fmla="*/ 271 h 530"/>
                  <a:gd name="T36" fmla="*/ 802 w 808"/>
                  <a:gd name="T37" fmla="*/ 313 h 530"/>
                  <a:gd name="T38" fmla="*/ 808 w 808"/>
                  <a:gd name="T39" fmla="*/ 357 h 530"/>
                  <a:gd name="T40" fmla="*/ 802 w 808"/>
                  <a:gd name="T41" fmla="*/ 401 h 530"/>
                  <a:gd name="T42" fmla="*/ 787 w 808"/>
                  <a:gd name="T43" fmla="*/ 442 h 530"/>
                  <a:gd name="T44" fmla="*/ 762 w 808"/>
                  <a:gd name="T45" fmla="*/ 476 h 530"/>
                  <a:gd name="T46" fmla="*/ 731 w 808"/>
                  <a:gd name="T47" fmla="*/ 503 h 530"/>
                  <a:gd name="T48" fmla="*/ 693 w 808"/>
                  <a:gd name="T49" fmla="*/ 522 h 530"/>
                  <a:gd name="T50" fmla="*/ 651 w 808"/>
                  <a:gd name="T51" fmla="*/ 530 h 530"/>
                  <a:gd name="T52" fmla="*/ 149 w 808"/>
                  <a:gd name="T53" fmla="*/ 530 h 530"/>
                  <a:gd name="T54" fmla="*/ 109 w 808"/>
                  <a:gd name="T55" fmla="*/ 526 h 530"/>
                  <a:gd name="T56" fmla="*/ 74 w 808"/>
                  <a:gd name="T57" fmla="*/ 511 h 530"/>
                  <a:gd name="T58" fmla="*/ 44 w 808"/>
                  <a:gd name="T59" fmla="*/ 488 h 530"/>
                  <a:gd name="T60" fmla="*/ 21 w 808"/>
                  <a:gd name="T61" fmla="*/ 457 h 530"/>
                  <a:gd name="T62" fmla="*/ 5 w 808"/>
                  <a:gd name="T63" fmla="*/ 421 h 530"/>
                  <a:gd name="T64" fmla="*/ 0 w 808"/>
                  <a:gd name="T65" fmla="*/ 382 h 530"/>
                  <a:gd name="T66" fmla="*/ 5 w 808"/>
                  <a:gd name="T67" fmla="*/ 346 h 530"/>
                  <a:gd name="T68" fmla="*/ 17 w 808"/>
                  <a:gd name="T69" fmla="*/ 313 h 530"/>
                  <a:gd name="T70" fmla="*/ 36 w 808"/>
                  <a:gd name="T71" fmla="*/ 282 h 530"/>
                  <a:gd name="T72" fmla="*/ 63 w 808"/>
                  <a:gd name="T73" fmla="*/ 259 h 530"/>
                  <a:gd name="T74" fmla="*/ 94 w 808"/>
                  <a:gd name="T75" fmla="*/ 242 h 530"/>
                  <a:gd name="T76" fmla="*/ 130 w 808"/>
                  <a:gd name="T77" fmla="*/ 233 h 530"/>
                  <a:gd name="T78" fmla="*/ 130 w 808"/>
                  <a:gd name="T79" fmla="*/ 225 h 530"/>
                  <a:gd name="T80" fmla="*/ 134 w 808"/>
                  <a:gd name="T81" fmla="*/ 179 h 530"/>
                  <a:gd name="T82" fmla="*/ 147 w 808"/>
                  <a:gd name="T83" fmla="*/ 137 h 530"/>
                  <a:gd name="T84" fmla="*/ 167 w 808"/>
                  <a:gd name="T85" fmla="*/ 98 h 530"/>
                  <a:gd name="T86" fmla="*/ 194 w 808"/>
                  <a:gd name="T87" fmla="*/ 66 h 530"/>
                  <a:gd name="T88" fmla="*/ 226 w 808"/>
                  <a:gd name="T89" fmla="*/ 39 h 530"/>
                  <a:gd name="T90" fmla="*/ 265 w 808"/>
                  <a:gd name="T91" fmla="*/ 18 h 530"/>
                  <a:gd name="T92" fmla="*/ 307 w 808"/>
                  <a:gd name="T93" fmla="*/ 4 h 530"/>
                  <a:gd name="T94" fmla="*/ 353 w 808"/>
                  <a:gd name="T95" fmla="*/ 0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08" h="530">
                    <a:moveTo>
                      <a:pt x="353" y="0"/>
                    </a:moveTo>
                    <a:lnTo>
                      <a:pt x="397" y="4"/>
                    </a:lnTo>
                    <a:lnTo>
                      <a:pt x="439" y="18"/>
                    </a:lnTo>
                    <a:lnTo>
                      <a:pt x="476" y="39"/>
                    </a:lnTo>
                    <a:lnTo>
                      <a:pt x="510" y="66"/>
                    </a:lnTo>
                    <a:lnTo>
                      <a:pt x="537" y="98"/>
                    </a:lnTo>
                    <a:lnTo>
                      <a:pt x="557" y="91"/>
                    </a:lnTo>
                    <a:lnTo>
                      <a:pt x="578" y="85"/>
                    </a:lnTo>
                    <a:lnTo>
                      <a:pt x="599" y="83"/>
                    </a:lnTo>
                    <a:lnTo>
                      <a:pt x="624" y="85"/>
                    </a:lnTo>
                    <a:lnTo>
                      <a:pt x="649" y="93"/>
                    </a:lnTo>
                    <a:lnTo>
                      <a:pt x="670" y="106"/>
                    </a:lnTo>
                    <a:lnTo>
                      <a:pt x="693" y="127"/>
                    </a:lnTo>
                    <a:lnTo>
                      <a:pt x="712" y="150"/>
                    </a:lnTo>
                    <a:lnTo>
                      <a:pt x="724" y="177"/>
                    </a:lnTo>
                    <a:lnTo>
                      <a:pt x="729" y="210"/>
                    </a:lnTo>
                    <a:lnTo>
                      <a:pt x="762" y="236"/>
                    </a:lnTo>
                    <a:lnTo>
                      <a:pt x="785" y="271"/>
                    </a:lnTo>
                    <a:lnTo>
                      <a:pt x="802" y="313"/>
                    </a:lnTo>
                    <a:lnTo>
                      <a:pt x="808" y="357"/>
                    </a:lnTo>
                    <a:lnTo>
                      <a:pt x="802" y="401"/>
                    </a:lnTo>
                    <a:lnTo>
                      <a:pt x="787" y="442"/>
                    </a:lnTo>
                    <a:lnTo>
                      <a:pt x="762" y="476"/>
                    </a:lnTo>
                    <a:lnTo>
                      <a:pt x="731" y="503"/>
                    </a:lnTo>
                    <a:lnTo>
                      <a:pt x="693" y="522"/>
                    </a:lnTo>
                    <a:lnTo>
                      <a:pt x="651" y="530"/>
                    </a:lnTo>
                    <a:lnTo>
                      <a:pt x="149" y="530"/>
                    </a:lnTo>
                    <a:lnTo>
                      <a:pt x="109" y="526"/>
                    </a:lnTo>
                    <a:lnTo>
                      <a:pt x="74" y="511"/>
                    </a:lnTo>
                    <a:lnTo>
                      <a:pt x="44" y="488"/>
                    </a:lnTo>
                    <a:lnTo>
                      <a:pt x="21" y="457"/>
                    </a:lnTo>
                    <a:lnTo>
                      <a:pt x="5" y="421"/>
                    </a:lnTo>
                    <a:lnTo>
                      <a:pt x="0" y="382"/>
                    </a:lnTo>
                    <a:lnTo>
                      <a:pt x="5" y="346"/>
                    </a:lnTo>
                    <a:lnTo>
                      <a:pt x="17" y="313"/>
                    </a:lnTo>
                    <a:lnTo>
                      <a:pt x="36" y="282"/>
                    </a:lnTo>
                    <a:lnTo>
                      <a:pt x="63" y="259"/>
                    </a:lnTo>
                    <a:lnTo>
                      <a:pt x="94" y="242"/>
                    </a:lnTo>
                    <a:lnTo>
                      <a:pt x="130" y="233"/>
                    </a:lnTo>
                    <a:lnTo>
                      <a:pt x="130" y="225"/>
                    </a:lnTo>
                    <a:lnTo>
                      <a:pt x="134" y="179"/>
                    </a:lnTo>
                    <a:lnTo>
                      <a:pt x="147" y="137"/>
                    </a:lnTo>
                    <a:lnTo>
                      <a:pt x="167" y="98"/>
                    </a:lnTo>
                    <a:lnTo>
                      <a:pt x="194" y="66"/>
                    </a:lnTo>
                    <a:lnTo>
                      <a:pt x="226" y="39"/>
                    </a:lnTo>
                    <a:lnTo>
                      <a:pt x="265" y="18"/>
                    </a:lnTo>
                    <a:lnTo>
                      <a:pt x="307" y="4"/>
                    </a:lnTo>
                    <a:lnTo>
                      <a:pt x="353" y="0"/>
                    </a:lnTo>
                    <a:close/>
                  </a:path>
                </a:pathLst>
              </a:custGeom>
              <a:solidFill>
                <a:srgbClr val="2780FF"/>
              </a:solidFill>
              <a:ln w="0">
                <a:solidFill>
                  <a:srgbClr val="2780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59" name="Freeform 878"/>
              <p:cNvSpPr>
                <a:spLocks/>
              </p:cNvSpPr>
              <p:nvPr/>
            </p:nvSpPr>
            <p:spPr bwMode="auto">
              <a:xfrm>
                <a:off x="9151938" y="5057775"/>
                <a:ext cx="1012825" cy="1047750"/>
              </a:xfrm>
              <a:custGeom>
                <a:avLst/>
                <a:gdLst>
                  <a:gd name="T0" fmla="*/ 638 w 638"/>
                  <a:gd name="T1" fmla="*/ 0 h 660"/>
                  <a:gd name="T2" fmla="*/ 638 w 638"/>
                  <a:gd name="T3" fmla="*/ 73 h 660"/>
                  <a:gd name="T4" fmla="*/ 632 w 638"/>
                  <a:gd name="T5" fmla="*/ 142 h 660"/>
                  <a:gd name="T6" fmla="*/ 619 w 638"/>
                  <a:gd name="T7" fmla="*/ 207 h 660"/>
                  <a:gd name="T8" fmla="*/ 603 w 638"/>
                  <a:gd name="T9" fmla="*/ 266 h 660"/>
                  <a:gd name="T10" fmla="*/ 584 w 638"/>
                  <a:gd name="T11" fmla="*/ 324 h 660"/>
                  <a:gd name="T12" fmla="*/ 563 w 638"/>
                  <a:gd name="T13" fmla="*/ 374 h 660"/>
                  <a:gd name="T14" fmla="*/ 540 w 638"/>
                  <a:gd name="T15" fmla="*/ 422 h 660"/>
                  <a:gd name="T16" fmla="*/ 517 w 638"/>
                  <a:gd name="T17" fmla="*/ 462 h 660"/>
                  <a:gd name="T18" fmla="*/ 496 w 638"/>
                  <a:gd name="T19" fmla="*/ 497 h 660"/>
                  <a:gd name="T20" fmla="*/ 475 w 638"/>
                  <a:gd name="T21" fmla="*/ 527 h 660"/>
                  <a:gd name="T22" fmla="*/ 457 w 638"/>
                  <a:gd name="T23" fmla="*/ 550 h 660"/>
                  <a:gd name="T24" fmla="*/ 444 w 638"/>
                  <a:gd name="T25" fmla="*/ 568 h 660"/>
                  <a:gd name="T26" fmla="*/ 436 w 638"/>
                  <a:gd name="T27" fmla="*/ 577 h 660"/>
                  <a:gd name="T28" fmla="*/ 432 w 638"/>
                  <a:gd name="T29" fmla="*/ 581 h 660"/>
                  <a:gd name="T30" fmla="*/ 432 w 638"/>
                  <a:gd name="T31" fmla="*/ 581 h 660"/>
                  <a:gd name="T32" fmla="*/ 432 w 638"/>
                  <a:gd name="T33" fmla="*/ 583 h 660"/>
                  <a:gd name="T34" fmla="*/ 434 w 638"/>
                  <a:gd name="T35" fmla="*/ 587 h 660"/>
                  <a:gd name="T36" fmla="*/ 436 w 638"/>
                  <a:gd name="T37" fmla="*/ 596 h 660"/>
                  <a:gd name="T38" fmla="*/ 440 w 638"/>
                  <a:gd name="T39" fmla="*/ 610 h 660"/>
                  <a:gd name="T40" fmla="*/ 446 w 638"/>
                  <a:gd name="T41" fmla="*/ 631 h 660"/>
                  <a:gd name="T42" fmla="*/ 452 w 638"/>
                  <a:gd name="T43" fmla="*/ 660 h 660"/>
                  <a:gd name="T44" fmla="*/ 448 w 638"/>
                  <a:gd name="T45" fmla="*/ 660 h 660"/>
                  <a:gd name="T46" fmla="*/ 436 w 638"/>
                  <a:gd name="T47" fmla="*/ 660 h 660"/>
                  <a:gd name="T48" fmla="*/ 419 w 638"/>
                  <a:gd name="T49" fmla="*/ 658 h 660"/>
                  <a:gd name="T50" fmla="*/ 396 w 638"/>
                  <a:gd name="T51" fmla="*/ 656 h 660"/>
                  <a:gd name="T52" fmla="*/ 367 w 638"/>
                  <a:gd name="T53" fmla="*/ 654 h 660"/>
                  <a:gd name="T54" fmla="*/ 334 w 638"/>
                  <a:gd name="T55" fmla="*/ 652 h 660"/>
                  <a:gd name="T56" fmla="*/ 300 w 638"/>
                  <a:gd name="T57" fmla="*/ 650 h 660"/>
                  <a:gd name="T58" fmla="*/ 263 w 638"/>
                  <a:gd name="T59" fmla="*/ 646 h 660"/>
                  <a:gd name="T60" fmla="*/ 227 w 638"/>
                  <a:gd name="T61" fmla="*/ 642 h 660"/>
                  <a:gd name="T62" fmla="*/ 189 w 638"/>
                  <a:gd name="T63" fmla="*/ 637 h 660"/>
                  <a:gd name="T64" fmla="*/ 152 w 638"/>
                  <a:gd name="T65" fmla="*/ 631 h 660"/>
                  <a:gd name="T66" fmla="*/ 117 w 638"/>
                  <a:gd name="T67" fmla="*/ 625 h 660"/>
                  <a:gd name="T68" fmla="*/ 85 w 638"/>
                  <a:gd name="T69" fmla="*/ 617 h 660"/>
                  <a:gd name="T70" fmla="*/ 58 w 638"/>
                  <a:gd name="T71" fmla="*/ 610 h 660"/>
                  <a:gd name="T72" fmla="*/ 33 w 638"/>
                  <a:gd name="T73" fmla="*/ 600 h 660"/>
                  <a:gd name="T74" fmla="*/ 16 w 638"/>
                  <a:gd name="T75" fmla="*/ 591 h 660"/>
                  <a:gd name="T76" fmla="*/ 4 w 638"/>
                  <a:gd name="T77" fmla="*/ 581 h 660"/>
                  <a:gd name="T78" fmla="*/ 0 w 638"/>
                  <a:gd name="T79" fmla="*/ 568 h 660"/>
                  <a:gd name="T80" fmla="*/ 4 w 638"/>
                  <a:gd name="T81" fmla="*/ 554 h 660"/>
                  <a:gd name="T82" fmla="*/ 18 w 638"/>
                  <a:gd name="T83" fmla="*/ 541 h 660"/>
                  <a:gd name="T84" fmla="*/ 41 w 638"/>
                  <a:gd name="T85" fmla="*/ 525 h 660"/>
                  <a:gd name="T86" fmla="*/ 75 w 638"/>
                  <a:gd name="T87" fmla="*/ 508 h 660"/>
                  <a:gd name="T88" fmla="*/ 121 w 638"/>
                  <a:gd name="T89" fmla="*/ 491 h 660"/>
                  <a:gd name="T90" fmla="*/ 198 w 638"/>
                  <a:gd name="T91" fmla="*/ 460 h 660"/>
                  <a:gd name="T92" fmla="*/ 265 w 638"/>
                  <a:gd name="T93" fmla="*/ 426 h 660"/>
                  <a:gd name="T94" fmla="*/ 325 w 638"/>
                  <a:gd name="T95" fmla="*/ 387 h 660"/>
                  <a:gd name="T96" fmla="*/ 375 w 638"/>
                  <a:gd name="T97" fmla="*/ 349 h 660"/>
                  <a:gd name="T98" fmla="*/ 419 w 638"/>
                  <a:gd name="T99" fmla="*/ 307 h 660"/>
                  <a:gd name="T100" fmla="*/ 457 w 638"/>
                  <a:gd name="T101" fmla="*/ 266 h 660"/>
                  <a:gd name="T102" fmla="*/ 488 w 638"/>
                  <a:gd name="T103" fmla="*/ 226 h 660"/>
                  <a:gd name="T104" fmla="*/ 515 w 638"/>
                  <a:gd name="T105" fmla="*/ 188 h 660"/>
                  <a:gd name="T106" fmla="*/ 534 w 638"/>
                  <a:gd name="T107" fmla="*/ 149 h 660"/>
                  <a:gd name="T108" fmla="*/ 552 w 638"/>
                  <a:gd name="T109" fmla="*/ 117 h 660"/>
                  <a:gd name="T110" fmla="*/ 563 w 638"/>
                  <a:gd name="T111" fmla="*/ 88 h 660"/>
                  <a:gd name="T112" fmla="*/ 571 w 638"/>
                  <a:gd name="T113" fmla="*/ 63 h 660"/>
                  <a:gd name="T114" fmla="*/ 576 w 638"/>
                  <a:gd name="T115" fmla="*/ 44 h 660"/>
                  <a:gd name="T116" fmla="*/ 580 w 638"/>
                  <a:gd name="T117" fmla="*/ 32 h 660"/>
                  <a:gd name="T118" fmla="*/ 580 w 638"/>
                  <a:gd name="T119" fmla="*/ 28 h 660"/>
                  <a:gd name="T120" fmla="*/ 638 w 638"/>
                  <a:gd name="T121" fmla="*/ 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38" h="660">
                    <a:moveTo>
                      <a:pt x="638" y="0"/>
                    </a:moveTo>
                    <a:lnTo>
                      <a:pt x="638" y="73"/>
                    </a:lnTo>
                    <a:lnTo>
                      <a:pt x="632" y="142"/>
                    </a:lnTo>
                    <a:lnTo>
                      <a:pt x="619" y="207"/>
                    </a:lnTo>
                    <a:lnTo>
                      <a:pt x="603" y="266"/>
                    </a:lnTo>
                    <a:lnTo>
                      <a:pt x="584" y="324"/>
                    </a:lnTo>
                    <a:lnTo>
                      <a:pt x="563" y="374"/>
                    </a:lnTo>
                    <a:lnTo>
                      <a:pt x="540" y="422"/>
                    </a:lnTo>
                    <a:lnTo>
                      <a:pt x="517" y="462"/>
                    </a:lnTo>
                    <a:lnTo>
                      <a:pt x="496" y="497"/>
                    </a:lnTo>
                    <a:lnTo>
                      <a:pt x="475" y="527"/>
                    </a:lnTo>
                    <a:lnTo>
                      <a:pt x="457" y="550"/>
                    </a:lnTo>
                    <a:lnTo>
                      <a:pt x="444" y="568"/>
                    </a:lnTo>
                    <a:lnTo>
                      <a:pt x="436" y="577"/>
                    </a:lnTo>
                    <a:lnTo>
                      <a:pt x="432" y="581"/>
                    </a:lnTo>
                    <a:lnTo>
                      <a:pt x="432" y="581"/>
                    </a:lnTo>
                    <a:lnTo>
                      <a:pt x="432" y="583"/>
                    </a:lnTo>
                    <a:lnTo>
                      <a:pt x="434" y="587"/>
                    </a:lnTo>
                    <a:lnTo>
                      <a:pt x="436" y="596"/>
                    </a:lnTo>
                    <a:lnTo>
                      <a:pt x="440" y="610"/>
                    </a:lnTo>
                    <a:lnTo>
                      <a:pt x="446" y="631"/>
                    </a:lnTo>
                    <a:lnTo>
                      <a:pt x="452" y="660"/>
                    </a:lnTo>
                    <a:lnTo>
                      <a:pt x="448" y="660"/>
                    </a:lnTo>
                    <a:lnTo>
                      <a:pt x="436" y="660"/>
                    </a:lnTo>
                    <a:lnTo>
                      <a:pt x="419" y="658"/>
                    </a:lnTo>
                    <a:lnTo>
                      <a:pt x="396" y="656"/>
                    </a:lnTo>
                    <a:lnTo>
                      <a:pt x="367" y="654"/>
                    </a:lnTo>
                    <a:lnTo>
                      <a:pt x="334" y="652"/>
                    </a:lnTo>
                    <a:lnTo>
                      <a:pt x="300" y="650"/>
                    </a:lnTo>
                    <a:lnTo>
                      <a:pt x="263" y="646"/>
                    </a:lnTo>
                    <a:lnTo>
                      <a:pt x="227" y="642"/>
                    </a:lnTo>
                    <a:lnTo>
                      <a:pt x="189" y="637"/>
                    </a:lnTo>
                    <a:lnTo>
                      <a:pt x="152" y="631"/>
                    </a:lnTo>
                    <a:lnTo>
                      <a:pt x="117" y="625"/>
                    </a:lnTo>
                    <a:lnTo>
                      <a:pt x="85" y="617"/>
                    </a:lnTo>
                    <a:lnTo>
                      <a:pt x="58" y="610"/>
                    </a:lnTo>
                    <a:lnTo>
                      <a:pt x="33" y="600"/>
                    </a:lnTo>
                    <a:lnTo>
                      <a:pt x="16" y="591"/>
                    </a:lnTo>
                    <a:lnTo>
                      <a:pt x="4" y="581"/>
                    </a:lnTo>
                    <a:lnTo>
                      <a:pt x="0" y="568"/>
                    </a:lnTo>
                    <a:lnTo>
                      <a:pt x="4" y="554"/>
                    </a:lnTo>
                    <a:lnTo>
                      <a:pt x="18" y="541"/>
                    </a:lnTo>
                    <a:lnTo>
                      <a:pt x="41" y="525"/>
                    </a:lnTo>
                    <a:lnTo>
                      <a:pt x="75" y="508"/>
                    </a:lnTo>
                    <a:lnTo>
                      <a:pt x="121" y="491"/>
                    </a:lnTo>
                    <a:lnTo>
                      <a:pt x="198" y="460"/>
                    </a:lnTo>
                    <a:lnTo>
                      <a:pt x="265" y="426"/>
                    </a:lnTo>
                    <a:lnTo>
                      <a:pt x="325" y="387"/>
                    </a:lnTo>
                    <a:lnTo>
                      <a:pt x="375" y="349"/>
                    </a:lnTo>
                    <a:lnTo>
                      <a:pt x="419" y="307"/>
                    </a:lnTo>
                    <a:lnTo>
                      <a:pt x="457" y="266"/>
                    </a:lnTo>
                    <a:lnTo>
                      <a:pt x="488" y="226"/>
                    </a:lnTo>
                    <a:lnTo>
                      <a:pt x="515" y="188"/>
                    </a:lnTo>
                    <a:lnTo>
                      <a:pt x="534" y="149"/>
                    </a:lnTo>
                    <a:lnTo>
                      <a:pt x="552" y="117"/>
                    </a:lnTo>
                    <a:lnTo>
                      <a:pt x="563" y="88"/>
                    </a:lnTo>
                    <a:lnTo>
                      <a:pt x="571" y="63"/>
                    </a:lnTo>
                    <a:lnTo>
                      <a:pt x="576" y="44"/>
                    </a:lnTo>
                    <a:lnTo>
                      <a:pt x="580" y="32"/>
                    </a:lnTo>
                    <a:lnTo>
                      <a:pt x="580" y="28"/>
                    </a:lnTo>
                    <a:lnTo>
                      <a:pt x="638" y="0"/>
                    </a:lnTo>
                    <a:close/>
                  </a:path>
                </a:pathLst>
              </a:custGeom>
              <a:solidFill>
                <a:srgbClr val="C9D8D5"/>
              </a:solidFill>
              <a:ln w="0">
                <a:solidFill>
                  <a:srgbClr val="C9D8D5"/>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60" name="Freeform 879"/>
              <p:cNvSpPr>
                <a:spLocks/>
              </p:cNvSpPr>
              <p:nvPr/>
            </p:nvSpPr>
            <p:spPr bwMode="auto">
              <a:xfrm>
                <a:off x="10433051" y="5257800"/>
                <a:ext cx="331788" cy="1000125"/>
              </a:xfrm>
              <a:custGeom>
                <a:avLst/>
                <a:gdLst>
                  <a:gd name="T0" fmla="*/ 117 w 209"/>
                  <a:gd name="T1" fmla="*/ 0 h 630"/>
                  <a:gd name="T2" fmla="*/ 209 w 209"/>
                  <a:gd name="T3" fmla="*/ 630 h 630"/>
                  <a:gd name="T4" fmla="*/ 0 w 209"/>
                  <a:gd name="T5" fmla="*/ 630 h 630"/>
                  <a:gd name="T6" fmla="*/ 117 w 209"/>
                  <a:gd name="T7" fmla="*/ 0 h 630"/>
                </a:gdLst>
                <a:ahLst/>
                <a:cxnLst>
                  <a:cxn ang="0">
                    <a:pos x="T0" y="T1"/>
                  </a:cxn>
                  <a:cxn ang="0">
                    <a:pos x="T2" y="T3"/>
                  </a:cxn>
                  <a:cxn ang="0">
                    <a:pos x="T4" y="T5"/>
                  </a:cxn>
                  <a:cxn ang="0">
                    <a:pos x="T6" y="T7"/>
                  </a:cxn>
                </a:cxnLst>
                <a:rect l="0" t="0" r="r" b="b"/>
                <a:pathLst>
                  <a:path w="209" h="630">
                    <a:moveTo>
                      <a:pt x="117" y="0"/>
                    </a:moveTo>
                    <a:lnTo>
                      <a:pt x="209" y="630"/>
                    </a:lnTo>
                    <a:lnTo>
                      <a:pt x="0" y="630"/>
                    </a:lnTo>
                    <a:lnTo>
                      <a:pt x="117" y="0"/>
                    </a:lnTo>
                    <a:close/>
                  </a:path>
                </a:pathLst>
              </a:custGeom>
              <a:solidFill>
                <a:srgbClr val="63D800"/>
              </a:solidFill>
              <a:ln w="0">
                <a:solidFill>
                  <a:srgbClr val="63D80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61" name="Freeform 880"/>
              <p:cNvSpPr>
                <a:spLocks/>
              </p:cNvSpPr>
              <p:nvPr/>
            </p:nvSpPr>
            <p:spPr bwMode="auto">
              <a:xfrm>
                <a:off x="10707688" y="5486400"/>
                <a:ext cx="258763" cy="771525"/>
              </a:xfrm>
              <a:custGeom>
                <a:avLst/>
                <a:gdLst>
                  <a:gd name="T0" fmla="*/ 92 w 163"/>
                  <a:gd name="T1" fmla="*/ 0 h 486"/>
                  <a:gd name="T2" fmla="*/ 163 w 163"/>
                  <a:gd name="T3" fmla="*/ 486 h 486"/>
                  <a:gd name="T4" fmla="*/ 0 w 163"/>
                  <a:gd name="T5" fmla="*/ 486 h 486"/>
                  <a:gd name="T6" fmla="*/ 92 w 163"/>
                  <a:gd name="T7" fmla="*/ 0 h 486"/>
                </a:gdLst>
                <a:ahLst/>
                <a:cxnLst>
                  <a:cxn ang="0">
                    <a:pos x="T0" y="T1"/>
                  </a:cxn>
                  <a:cxn ang="0">
                    <a:pos x="T2" y="T3"/>
                  </a:cxn>
                  <a:cxn ang="0">
                    <a:pos x="T4" y="T5"/>
                  </a:cxn>
                  <a:cxn ang="0">
                    <a:pos x="T6" y="T7"/>
                  </a:cxn>
                </a:cxnLst>
                <a:rect l="0" t="0" r="r" b="b"/>
                <a:pathLst>
                  <a:path w="163" h="486">
                    <a:moveTo>
                      <a:pt x="92" y="0"/>
                    </a:moveTo>
                    <a:lnTo>
                      <a:pt x="163" y="486"/>
                    </a:lnTo>
                    <a:lnTo>
                      <a:pt x="0" y="486"/>
                    </a:lnTo>
                    <a:lnTo>
                      <a:pt x="92" y="0"/>
                    </a:lnTo>
                    <a:close/>
                  </a:path>
                </a:pathLst>
              </a:custGeom>
              <a:solidFill>
                <a:srgbClr val="00B29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62" name="Freeform 881"/>
              <p:cNvSpPr>
                <a:spLocks/>
              </p:cNvSpPr>
              <p:nvPr/>
            </p:nvSpPr>
            <p:spPr bwMode="auto">
              <a:xfrm>
                <a:off x="3848101" y="6215063"/>
                <a:ext cx="3660775" cy="763588"/>
              </a:xfrm>
              <a:custGeom>
                <a:avLst/>
                <a:gdLst>
                  <a:gd name="T0" fmla="*/ 1140 w 2306"/>
                  <a:gd name="T1" fmla="*/ 0 h 481"/>
                  <a:gd name="T2" fmla="*/ 1175 w 2306"/>
                  <a:gd name="T3" fmla="*/ 0 h 481"/>
                  <a:gd name="T4" fmla="*/ 1209 w 2306"/>
                  <a:gd name="T5" fmla="*/ 4 h 481"/>
                  <a:gd name="T6" fmla="*/ 1275 w 2306"/>
                  <a:gd name="T7" fmla="*/ 6 h 481"/>
                  <a:gd name="T8" fmla="*/ 1338 w 2306"/>
                  <a:gd name="T9" fmla="*/ 11 h 481"/>
                  <a:gd name="T10" fmla="*/ 1371 w 2306"/>
                  <a:gd name="T11" fmla="*/ 17 h 481"/>
                  <a:gd name="T12" fmla="*/ 1402 w 2306"/>
                  <a:gd name="T13" fmla="*/ 21 h 481"/>
                  <a:gd name="T14" fmla="*/ 1407 w 2306"/>
                  <a:gd name="T15" fmla="*/ 21 h 481"/>
                  <a:gd name="T16" fmla="*/ 1413 w 2306"/>
                  <a:gd name="T17" fmla="*/ 21 h 481"/>
                  <a:gd name="T18" fmla="*/ 1419 w 2306"/>
                  <a:gd name="T19" fmla="*/ 23 h 481"/>
                  <a:gd name="T20" fmla="*/ 1425 w 2306"/>
                  <a:gd name="T21" fmla="*/ 23 h 481"/>
                  <a:gd name="T22" fmla="*/ 1546 w 2306"/>
                  <a:gd name="T23" fmla="*/ 50 h 481"/>
                  <a:gd name="T24" fmla="*/ 1665 w 2306"/>
                  <a:gd name="T25" fmla="*/ 82 h 481"/>
                  <a:gd name="T26" fmla="*/ 1780 w 2306"/>
                  <a:gd name="T27" fmla="*/ 126 h 481"/>
                  <a:gd name="T28" fmla="*/ 1893 w 2306"/>
                  <a:gd name="T29" fmla="*/ 178 h 481"/>
                  <a:gd name="T30" fmla="*/ 2005 w 2306"/>
                  <a:gd name="T31" fmla="*/ 242 h 481"/>
                  <a:gd name="T32" fmla="*/ 2110 w 2306"/>
                  <a:gd name="T33" fmla="*/ 311 h 481"/>
                  <a:gd name="T34" fmla="*/ 2212 w 2306"/>
                  <a:gd name="T35" fmla="*/ 391 h 481"/>
                  <a:gd name="T36" fmla="*/ 2306 w 2306"/>
                  <a:gd name="T37" fmla="*/ 481 h 481"/>
                  <a:gd name="T38" fmla="*/ 2306 w 2306"/>
                  <a:gd name="T39" fmla="*/ 481 h 481"/>
                  <a:gd name="T40" fmla="*/ 2306 w 2306"/>
                  <a:gd name="T41" fmla="*/ 481 h 481"/>
                  <a:gd name="T42" fmla="*/ 2302 w 2306"/>
                  <a:gd name="T43" fmla="*/ 481 h 481"/>
                  <a:gd name="T44" fmla="*/ 2297 w 2306"/>
                  <a:gd name="T45" fmla="*/ 481 h 481"/>
                  <a:gd name="T46" fmla="*/ 2287 w 2306"/>
                  <a:gd name="T47" fmla="*/ 481 h 481"/>
                  <a:gd name="T48" fmla="*/ 1653 w 2306"/>
                  <a:gd name="T49" fmla="*/ 481 h 481"/>
                  <a:gd name="T50" fmla="*/ 1546 w 2306"/>
                  <a:gd name="T51" fmla="*/ 481 h 481"/>
                  <a:gd name="T52" fmla="*/ 1425 w 2306"/>
                  <a:gd name="T53" fmla="*/ 481 h 481"/>
                  <a:gd name="T54" fmla="*/ 1148 w 2306"/>
                  <a:gd name="T55" fmla="*/ 481 h 481"/>
                  <a:gd name="T56" fmla="*/ 991 w 2306"/>
                  <a:gd name="T57" fmla="*/ 481 h 481"/>
                  <a:gd name="T58" fmla="*/ 818 w 2306"/>
                  <a:gd name="T59" fmla="*/ 481 h 481"/>
                  <a:gd name="T60" fmla="*/ 818 w 2306"/>
                  <a:gd name="T61" fmla="*/ 481 h 481"/>
                  <a:gd name="T62" fmla="*/ 818 w 2306"/>
                  <a:gd name="T63" fmla="*/ 481 h 481"/>
                  <a:gd name="T64" fmla="*/ 814 w 2306"/>
                  <a:gd name="T65" fmla="*/ 481 h 481"/>
                  <a:gd name="T66" fmla="*/ 810 w 2306"/>
                  <a:gd name="T67" fmla="*/ 481 h 481"/>
                  <a:gd name="T68" fmla="*/ 800 w 2306"/>
                  <a:gd name="T69" fmla="*/ 481 h 481"/>
                  <a:gd name="T70" fmla="*/ 789 w 2306"/>
                  <a:gd name="T71" fmla="*/ 481 h 481"/>
                  <a:gd name="T72" fmla="*/ 716 w 2306"/>
                  <a:gd name="T73" fmla="*/ 481 h 481"/>
                  <a:gd name="T74" fmla="*/ 677 w 2306"/>
                  <a:gd name="T75" fmla="*/ 481 h 481"/>
                  <a:gd name="T76" fmla="*/ 631 w 2306"/>
                  <a:gd name="T77" fmla="*/ 481 h 481"/>
                  <a:gd name="T78" fmla="*/ 576 w 2306"/>
                  <a:gd name="T79" fmla="*/ 481 h 481"/>
                  <a:gd name="T80" fmla="*/ 510 w 2306"/>
                  <a:gd name="T81" fmla="*/ 481 h 481"/>
                  <a:gd name="T82" fmla="*/ 434 w 2306"/>
                  <a:gd name="T83" fmla="*/ 481 h 481"/>
                  <a:gd name="T84" fmla="*/ 243 w 2306"/>
                  <a:gd name="T85" fmla="*/ 481 h 481"/>
                  <a:gd name="T86" fmla="*/ 128 w 2306"/>
                  <a:gd name="T87" fmla="*/ 481 h 481"/>
                  <a:gd name="T88" fmla="*/ 0 w 2306"/>
                  <a:gd name="T89" fmla="*/ 481 h 481"/>
                  <a:gd name="T90" fmla="*/ 97 w 2306"/>
                  <a:gd name="T91" fmla="*/ 391 h 481"/>
                  <a:gd name="T92" fmla="*/ 201 w 2306"/>
                  <a:gd name="T93" fmla="*/ 309 h 481"/>
                  <a:gd name="T94" fmla="*/ 309 w 2306"/>
                  <a:gd name="T95" fmla="*/ 238 h 481"/>
                  <a:gd name="T96" fmla="*/ 420 w 2306"/>
                  <a:gd name="T97" fmla="*/ 176 h 481"/>
                  <a:gd name="T98" fmla="*/ 533 w 2306"/>
                  <a:gd name="T99" fmla="*/ 123 h 481"/>
                  <a:gd name="T100" fmla="*/ 652 w 2306"/>
                  <a:gd name="T101" fmla="*/ 78 h 481"/>
                  <a:gd name="T102" fmla="*/ 772 w 2306"/>
                  <a:gd name="T103" fmla="*/ 46 h 481"/>
                  <a:gd name="T104" fmla="*/ 894 w 2306"/>
                  <a:gd name="T105" fmla="*/ 21 h 481"/>
                  <a:gd name="T106" fmla="*/ 1017 w 2306"/>
                  <a:gd name="T107" fmla="*/ 6 h 481"/>
                  <a:gd name="T108" fmla="*/ 1140 w 2306"/>
                  <a:gd name="T109"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06" h="481">
                    <a:moveTo>
                      <a:pt x="1140" y="0"/>
                    </a:moveTo>
                    <a:lnTo>
                      <a:pt x="1175" y="0"/>
                    </a:lnTo>
                    <a:lnTo>
                      <a:pt x="1209" y="4"/>
                    </a:lnTo>
                    <a:lnTo>
                      <a:pt x="1275" y="6"/>
                    </a:lnTo>
                    <a:lnTo>
                      <a:pt x="1338" y="11"/>
                    </a:lnTo>
                    <a:lnTo>
                      <a:pt x="1371" y="17"/>
                    </a:lnTo>
                    <a:lnTo>
                      <a:pt x="1402" y="21"/>
                    </a:lnTo>
                    <a:lnTo>
                      <a:pt x="1407" y="21"/>
                    </a:lnTo>
                    <a:lnTo>
                      <a:pt x="1413" y="21"/>
                    </a:lnTo>
                    <a:lnTo>
                      <a:pt x="1419" y="23"/>
                    </a:lnTo>
                    <a:lnTo>
                      <a:pt x="1425" y="23"/>
                    </a:lnTo>
                    <a:lnTo>
                      <a:pt x="1546" y="50"/>
                    </a:lnTo>
                    <a:lnTo>
                      <a:pt x="1665" y="82"/>
                    </a:lnTo>
                    <a:lnTo>
                      <a:pt x="1780" y="126"/>
                    </a:lnTo>
                    <a:lnTo>
                      <a:pt x="1893" y="178"/>
                    </a:lnTo>
                    <a:lnTo>
                      <a:pt x="2005" y="242"/>
                    </a:lnTo>
                    <a:lnTo>
                      <a:pt x="2110" y="311"/>
                    </a:lnTo>
                    <a:lnTo>
                      <a:pt x="2212" y="391"/>
                    </a:lnTo>
                    <a:lnTo>
                      <a:pt x="2306" y="481"/>
                    </a:lnTo>
                    <a:lnTo>
                      <a:pt x="2306" y="481"/>
                    </a:lnTo>
                    <a:lnTo>
                      <a:pt x="2306" y="481"/>
                    </a:lnTo>
                    <a:lnTo>
                      <a:pt x="2302" y="481"/>
                    </a:lnTo>
                    <a:lnTo>
                      <a:pt x="2297" y="481"/>
                    </a:lnTo>
                    <a:lnTo>
                      <a:pt x="2287" y="481"/>
                    </a:lnTo>
                    <a:lnTo>
                      <a:pt x="1653" y="481"/>
                    </a:lnTo>
                    <a:lnTo>
                      <a:pt x="1546" y="481"/>
                    </a:lnTo>
                    <a:lnTo>
                      <a:pt x="1425" y="481"/>
                    </a:lnTo>
                    <a:lnTo>
                      <a:pt x="1148" y="481"/>
                    </a:lnTo>
                    <a:lnTo>
                      <a:pt x="991" y="481"/>
                    </a:lnTo>
                    <a:lnTo>
                      <a:pt x="818" y="481"/>
                    </a:lnTo>
                    <a:lnTo>
                      <a:pt x="818" y="481"/>
                    </a:lnTo>
                    <a:lnTo>
                      <a:pt x="818" y="481"/>
                    </a:lnTo>
                    <a:lnTo>
                      <a:pt x="814" y="481"/>
                    </a:lnTo>
                    <a:lnTo>
                      <a:pt x="810" y="481"/>
                    </a:lnTo>
                    <a:lnTo>
                      <a:pt x="800" y="481"/>
                    </a:lnTo>
                    <a:lnTo>
                      <a:pt x="789" y="481"/>
                    </a:lnTo>
                    <a:lnTo>
                      <a:pt x="716" y="481"/>
                    </a:lnTo>
                    <a:lnTo>
                      <a:pt x="677" y="481"/>
                    </a:lnTo>
                    <a:lnTo>
                      <a:pt x="631" y="481"/>
                    </a:lnTo>
                    <a:lnTo>
                      <a:pt x="576" y="481"/>
                    </a:lnTo>
                    <a:lnTo>
                      <a:pt x="510" y="481"/>
                    </a:lnTo>
                    <a:lnTo>
                      <a:pt x="434" y="481"/>
                    </a:lnTo>
                    <a:lnTo>
                      <a:pt x="243" y="481"/>
                    </a:lnTo>
                    <a:lnTo>
                      <a:pt x="128" y="481"/>
                    </a:lnTo>
                    <a:lnTo>
                      <a:pt x="0" y="481"/>
                    </a:lnTo>
                    <a:lnTo>
                      <a:pt x="97" y="391"/>
                    </a:lnTo>
                    <a:lnTo>
                      <a:pt x="201" y="309"/>
                    </a:lnTo>
                    <a:lnTo>
                      <a:pt x="309" y="238"/>
                    </a:lnTo>
                    <a:lnTo>
                      <a:pt x="420" y="176"/>
                    </a:lnTo>
                    <a:lnTo>
                      <a:pt x="533" y="123"/>
                    </a:lnTo>
                    <a:lnTo>
                      <a:pt x="652" y="78"/>
                    </a:lnTo>
                    <a:lnTo>
                      <a:pt x="772" y="46"/>
                    </a:lnTo>
                    <a:lnTo>
                      <a:pt x="894" y="21"/>
                    </a:lnTo>
                    <a:lnTo>
                      <a:pt x="1017" y="6"/>
                    </a:lnTo>
                    <a:lnTo>
                      <a:pt x="1140" y="0"/>
                    </a:lnTo>
                    <a:close/>
                  </a:path>
                </a:pathLst>
              </a:custGeom>
              <a:solidFill>
                <a:srgbClr val="79A500"/>
              </a:solidFill>
              <a:ln w="0">
                <a:solidFill>
                  <a:srgbClr val="63D80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63" name="Freeform 882"/>
              <p:cNvSpPr>
                <a:spLocks/>
              </p:cNvSpPr>
              <p:nvPr/>
            </p:nvSpPr>
            <p:spPr bwMode="auto">
              <a:xfrm>
                <a:off x="8704263" y="6178550"/>
                <a:ext cx="3838575" cy="800100"/>
              </a:xfrm>
              <a:custGeom>
                <a:avLst/>
                <a:gdLst>
                  <a:gd name="T0" fmla="*/ 1193 w 2418"/>
                  <a:gd name="T1" fmla="*/ 0 h 504"/>
                  <a:gd name="T2" fmla="*/ 1231 w 2418"/>
                  <a:gd name="T3" fmla="*/ 0 h 504"/>
                  <a:gd name="T4" fmla="*/ 1269 w 2418"/>
                  <a:gd name="T5" fmla="*/ 4 h 504"/>
                  <a:gd name="T6" fmla="*/ 1335 w 2418"/>
                  <a:gd name="T7" fmla="*/ 6 h 504"/>
                  <a:gd name="T8" fmla="*/ 1402 w 2418"/>
                  <a:gd name="T9" fmla="*/ 11 h 504"/>
                  <a:gd name="T10" fmla="*/ 1435 w 2418"/>
                  <a:gd name="T11" fmla="*/ 17 h 504"/>
                  <a:gd name="T12" fmla="*/ 1469 w 2418"/>
                  <a:gd name="T13" fmla="*/ 21 h 504"/>
                  <a:gd name="T14" fmla="*/ 1477 w 2418"/>
                  <a:gd name="T15" fmla="*/ 21 h 504"/>
                  <a:gd name="T16" fmla="*/ 1487 w 2418"/>
                  <a:gd name="T17" fmla="*/ 23 h 504"/>
                  <a:gd name="T18" fmla="*/ 1494 w 2418"/>
                  <a:gd name="T19" fmla="*/ 23 h 504"/>
                  <a:gd name="T20" fmla="*/ 1608 w 2418"/>
                  <a:gd name="T21" fmla="*/ 46 h 504"/>
                  <a:gd name="T22" fmla="*/ 1717 w 2418"/>
                  <a:gd name="T23" fmla="*/ 77 h 504"/>
                  <a:gd name="T24" fmla="*/ 1826 w 2418"/>
                  <a:gd name="T25" fmla="*/ 115 h 504"/>
                  <a:gd name="T26" fmla="*/ 1932 w 2418"/>
                  <a:gd name="T27" fmla="*/ 161 h 504"/>
                  <a:gd name="T28" fmla="*/ 2036 w 2418"/>
                  <a:gd name="T29" fmla="*/ 215 h 504"/>
                  <a:gd name="T30" fmla="*/ 2138 w 2418"/>
                  <a:gd name="T31" fmla="*/ 276 h 504"/>
                  <a:gd name="T32" fmla="*/ 2234 w 2418"/>
                  <a:gd name="T33" fmla="*/ 345 h 504"/>
                  <a:gd name="T34" fmla="*/ 2328 w 2418"/>
                  <a:gd name="T35" fmla="*/ 420 h 504"/>
                  <a:gd name="T36" fmla="*/ 2418 w 2418"/>
                  <a:gd name="T37" fmla="*/ 504 h 504"/>
                  <a:gd name="T38" fmla="*/ 2418 w 2418"/>
                  <a:gd name="T39" fmla="*/ 504 h 504"/>
                  <a:gd name="T40" fmla="*/ 2416 w 2418"/>
                  <a:gd name="T41" fmla="*/ 504 h 504"/>
                  <a:gd name="T42" fmla="*/ 2410 w 2418"/>
                  <a:gd name="T43" fmla="*/ 504 h 504"/>
                  <a:gd name="T44" fmla="*/ 2405 w 2418"/>
                  <a:gd name="T45" fmla="*/ 504 h 504"/>
                  <a:gd name="T46" fmla="*/ 2397 w 2418"/>
                  <a:gd name="T47" fmla="*/ 504 h 504"/>
                  <a:gd name="T48" fmla="*/ 1732 w 2418"/>
                  <a:gd name="T49" fmla="*/ 504 h 504"/>
                  <a:gd name="T50" fmla="*/ 1619 w 2418"/>
                  <a:gd name="T51" fmla="*/ 504 h 504"/>
                  <a:gd name="T52" fmla="*/ 1492 w 2418"/>
                  <a:gd name="T53" fmla="*/ 504 h 504"/>
                  <a:gd name="T54" fmla="*/ 1202 w 2418"/>
                  <a:gd name="T55" fmla="*/ 504 h 504"/>
                  <a:gd name="T56" fmla="*/ 1037 w 2418"/>
                  <a:gd name="T57" fmla="*/ 504 h 504"/>
                  <a:gd name="T58" fmla="*/ 857 w 2418"/>
                  <a:gd name="T59" fmla="*/ 504 h 504"/>
                  <a:gd name="T60" fmla="*/ 853 w 2418"/>
                  <a:gd name="T61" fmla="*/ 504 h 504"/>
                  <a:gd name="T62" fmla="*/ 849 w 2418"/>
                  <a:gd name="T63" fmla="*/ 504 h 504"/>
                  <a:gd name="T64" fmla="*/ 841 w 2418"/>
                  <a:gd name="T65" fmla="*/ 504 h 504"/>
                  <a:gd name="T66" fmla="*/ 766 w 2418"/>
                  <a:gd name="T67" fmla="*/ 504 h 504"/>
                  <a:gd name="T68" fmla="*/ 732 w 2418"/>
                  <a:gd name="T69" fmla="*/ 504 h 504"/>
                  <a:gd name="T70" fmla="*/ 691 w 2418"/>
                  <a:gd name="T71" fmla="*/ 504 h 504"/>
                  <a:gd name="T72" fmla="*/ 641 w 2418"/>
                  <a:gd name="T73" fmla="*/ 504 h 504"/>
                  <a:gd name="T74" fmla="*/ 582 w 2418"/>
                  <a:gd name="T75" fmla="*/ 504 h 504"/>
                  <a:gd name="T76" fmla="*/ 0 w 2418"/>
                  <a:gd name="T77" fmla="*/ 504 h 504"/>
                  <a:gd name="T78" fmla="*/ 94 w 2418"/>
                  <a:gd name="T79" fmla="*/ 418 h 504"/>
                  <a:gd name="T80" fmla="*/ 190 w 2418"/>
                  <a:gd name="T81" fmla="*/ 339 h 504"/>
                  <a:gd name="T82" fmla="*/ 292 w 2418"/>
                  <a:gd name="T83" fmla="*/ 268 h 504"/>
                  <a:gd name="T84" fmla="*/ 396 w 2418"/>
                  <a:gd name="T85" fmla="*/ 207 h 504"/>
                  <a:gd name="T86" fmla="*/ 503 w 2418"/>
                  <a:gd name="T87" fmla="*/ 153 h 504"/>
                  <a:gd name="T88" fmla="*/ 615 w 2418"/>
                  <a:gd name="T89" fmla="*/ 107 h 504"/>
                  <a:gd name="T90" fmla="*/ 728 w 2418"/>
                  <a:gd name="T91" fmla="*/ 71 h 504"/>
                  <a:gd name="T92" fmla="*/ 841 w 2418"/>
                  <a:gd name="T93" fmla="*/ 40 h 504"/>
                  <a:gd name="T94" fmla="*/ 958 w 2418"/>
                  <a:gd name="T95" fmla="*/ 19 h 504"/>
                  <a:gd name="T96" fmla="*/ 1076 w 2418"/>
                  <a:gd name="T97" fmla="*/ 6 h 504"/>
                  <a:gd name="T98" fmla="*/ 1193 w 2418"/>
                  <a:gd name="T99"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18" h="504">
                    <a:moveTo>
                      <a:pt x="1193" y="0"/>
                    </a:moveTo>
                    <a:lnTo>
                      <a:pt x="1231" y="0"/>
                    </a:lnTo>
                    <a:lnTo>
                      <a:pt x="1269" y="4"/>
                    </a:lnTo>
                    <a:lnTo>
                      <a:pt x="1335" y="6"/>
                    </a:lnTo>
                    <a:lnTo>
                      <a:pt x="1402" y="11"/>
                    </a:lnTo>
                    <a:lnTo>
                      <a:pt x="1435" y="17"/>
                    </a:lnTo>
                    <a:lnTo>
                      <a:pt x="1469" y="21"/>
                    </a:lnTo>
                    <a:lnTo>
                      <a:pt x="1477" y="21"/>
                    </a:lnTo>
                    <a:lnTo>
                      <a:pt x="1487" y="23"/>
                    </a:lnTo>
                    <a:lnTo>
                      <a:pt x="1494" y="23"/>
                    </a:lnTo>
                    <a:lnTo>
                      <a:pt x="1608" y="46"/>
                    </a:lnTo>
                    <a:lnTo>
                      <a:pt x="1717" y="77"/>
                    </a:lnTo>
                    <a:lnTo>
                      <a:pt x="1826" y="115"/>
                    </a:lnTo>
                    <a:lnTo>
                      <a:pt x="1932" y="161"/>
                    </a:lnTo>
                    <a:lnTo>
                      <a:pt x="2036" y="215"/>
                    </a:lnTo>
                    <a:lnTo>
                      <a:pt x="2138" y="276"/>
                    </a:lnTo>
                    <a:lnTo>
                      <a:pt x="2234" y="345"/>
                    </a:lnTo>
                    <a:lnTo>
                      <a:pt x="2328" y="420"/>
                    </a:lnTo>
                    <a:lnTo>
                      <a:pt x="2418" y="504"/>
                    </a:lnTo>
                    <a:lnTo>
                      <a:pt x="2418" y="504"/>
                    </a:lnTo>
                    <a:lnTo>
                      <a:pt x="2416" y="504"/>
                    </a:lnTo>
                    <a:lnTo>
                      <a:pt x="2410" y="504"/>
                    </a:lnTo>
                    <a:lnTo>
                      <a:pt x="2405" y="504"/>
                    </a:lnTo>
                    <a:lnTo>
                      <a:pt x="2397" y="504"/>
                    </a:lnTo>
                    <a:lnTo>
                      <a:pt x="1732" y="504"/>
                    </a:lnTo>
                    <a:lnTo>
                      <a:pt x="1619" y="504"/>
                    </a:lnTo>
                    <a:lnTo>
                      <a:pt x="1492" y="504"/>
                    </a:lnTo>
                    <a:lnTo>
                      <a:pt x="1202" y="504"/>
                    </a:lnTo>
                    <a:lnTo>
                      <a:pt x="1037" y="504"/>
                    </a:lnTo>
                    <a:lnTo>
                      <a:pt x="857" y="504"/>
                    </a:lnTo>
                    <a:lnTo>
                      <a:pt x="853" y="504"/>
                    </a:lnTo>
                    <a:lnTo>
                      <a:pt x="849" y="504"/>
                    </a:lnTo>
                    <a:lnTo>
                      <a:pt x="841" y="504"/>
                    </a:lnTo>
                    <a:lnTo>
                      <a:pt x="766" y="504"/>
                    </a:lnTo>
                    <a:lnTo>
                      <a:pt x="732" y="504"/>
                    </a:lnTo>
                    <a:lnTo>
                      <a:pt x="691" y="504"/>
                    </a:lnTo>
                    <a:lnTo>
                      <a:pt x="641" y="504"/>
                    </a:lnTo>
                    <a:lnTo>
                      <a:pt x="582" y="504"/>
                    </a:lnTo>
                    <a:lnTo>
                      <a:pt x="0" y="504"/>
                    </a:lnTo>
                    <a:lnTo>
                      <a:pt x="94" y="418"/>
                    </a:lnTo>
                    <a:lnTo>
                      <a:pt x="190" y="339"/>
                    </a:lnTo>
                    <a:lnTo>
                      <a:pt x="292" y="268"/>
                    </a:lnTo>
                    <a:lnTo>
                      <a:pt x="396" y="207"/>
                    </a:lnTo>
                    <a:lnTo>
                      <a:pt x="503" y="153"/>
                    </a:lnTo>
                    <a:lnTo>
                      <a:pt x="615" y="107"/>
                    </a:lnTo>
                    <a:lnTo>
                      <a:pt x="728" y="71"/>
                    </a:lnTo>
                    <a:lnTo>
                      <a:pt x="841" y="40"/>
                    </a:lnTo>
                    <a:lnTo>
                      <a:pt x="958" y="19"/>
                    </a:lnTo>
                    <a:lnTo>
                      <a:pt x="1076" y="6"/>
                    </a:lnTo>
                    <a:lnTo>
                      <a:pt x="1193" y="0"/>
                    </a:lnTo>
                    <a:close/>
                  </a:path>
                </a:pathLst>
              </a:custGeom>
              <a:solidFill>
                <a:srgbClr val="79A500"/>
              </a:solidFill>
              <a:ln w="0">
                <a:solidFill>
                  <a:srgbClr val="63D80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64" name="Rectangle 883"/>
              <p:cNvSpPr>
                <a:spLocks noChangeArrowheads="1"/>
              </p:cNvSpPr>
              <p:nvPr/>
            </p:nvSpPr>
            <p:spPr bwMode="auto">
              <a:xfrm>
                <a:off x="2481263" y="6908800"/>
                <a:ext cx="4046538" cy="66675"/>
              </a:xfrm>
              <a:prstGeom prst="rect">
                <a:avLst/>
              </a:prstGeom>
              <a:solidFill>
                <a:srgbClr val="004B1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a:p>
            </p:txBody>
          </p:sp>
          <p:sp>
            <p:nvSpPr>
              <p:cNvPr id="65" name="Rectangle 884"/>
              <p:cNvSpPr>
                <a:spLocks noChangeArrowheads="1"/>
              </p:cNvSpPr>
              <p:nvPr/>
            </p:nvSpPr>
            <p:spPr bwMode="auto">
              <a:xfrm>
                <a:off x="5570538" y="6300788"/>
                <a:ext cx="69850" cy="298450"/>
              </a:xfrm>
              <a:prstGeom prst="rect">
                <a:avLst/>
              </a:prstGeom>
              <a:solidFill>
                <a:srgbClr val="778D8D"/>
              </a:solidFill>
              <a:ln w="0">
                <a:solidFill>
                  <a:srgbClr val="778D8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a:p>
            </p:txBody>
          </p:sp>
          <p:sp>
            <p:nvSpPr>
              <p:cNvPr id="66" name="Freeform 885"/>
              <p:cNvSpPr>
                <a:spLocks/>
              </p:cNvSpPr>
              <p:nvPr/>
            </p:nvSpPr>
            <p:spPr bwMode="auto">
              <a:xfrm>
                <a:off x="5429251" y="6022975"/>
                <a:ext cx="344488" cy="395288"/>
              </a:xfrm>
              <a:custGeom>
                <a:avLst/>
                <a:gdLst>
                  <a:gd name="T0" fmla="*/ 110 w 217"/>
                  <a:gd name="T1" fmla="*/ 0 h 249"/>
                  <a:gd name="T2" fmla="*/ 139 w 217"/>
                  <a:gd name="T3" fmla="*/ 4 h 249"/>
                  <a:gd name="T4" fmla="*/ 164 w 217"/>
                  <a:gd name="T5" fmla="*/ 17 h 249"/>
                  <a:gd name="T6" fmla="*/ 187 w 217"/>
                  <a:gd name="T7" fmla="*/ 36 h 249"/>
                  <a:gd name="T8" fmla="*/ 204 w 217"/>
                  <a:gd name="T9" fmla="*/ 61 h 249"/>
                  <a:gd name="T10" fmla="*/ 213 w 217"/>
                  <a:gd name="T11" fmla="*/ 92 h 249"/>
                  <a:gd name="T12" fmla="*/ 217 w 217"/>
                  <a:gd name="T13" fmla="*/ 125 h 249"/>
                  <a:gd name="T14" fmla="*/ 213 w 217"/>
                  <a:gd name="T15" fmla="*/ 157 h 249"/>
                  <a:gd name="T16" fmla="*/ 204 w 217"/>
                  <a:gd name="T17" fmla="*/ 188 h 249"/>
                  <a:gd name="T18" fmla="*/ 187 w 217"/>
                  <a:gd name="T19" fmla="*/ 213 h 249"/>
                  <a:gd name="T20" fmla="*/ 164 w 217"/>
                  <a:gd name="T21" fmla="*/ 232 h 249"/>
                  <a:gd name="T22" fmla="*/ 139 w 217"/>
                  <a:gd name="T23" fmla="*/ 246 h 249"/>
                  <a:gd name="T24" fmla="*/ 110 w 217"/>
                  <a:gd name="T25" fmla="*/ 249 h 249"/>
                  <a:gd name="T26" fmla="*/ 81 w 217"/>
                  <a:gd name="T27" fmla="*/ 246 h 249"/>
                  <a:gd name="T28" fmla="*/ 54 w 217"/>
                  <a:gd name="T29" fmla="*/ 232 h 249"/>
                  <a:gd name="T30" fmla="*/ 33 w 217"/>
                  <a:gd name="T31" fmla="*/ 213 h 249"/>
                  <a:gd name="T32" fmla="*/ 16 w 217"/>
                  <a:gd name="T33" fmla="*/ 188 h 249"/>
                  <a:gd name="T34" fmla="*/ 4 w 217"/>
                  <a:gd name="T35" fmla="*/ 157 h 249"/>
                  <a:gd name="T36" fmla="*/ 0 w 217"/>
                  <a:gd name="T37" fmla="*/ 125 h 249"/>
                  <a:gd name="T38" fmla="*/ 4 w 217"/>
                  <a:gd name="T39" fmla="*/ 92 h 249"/>
                  <a:gd name="T40" fmla="*/ 16 w 217"/>
                  <a:gd name="T41" fmla="*/ 61 h 249"/>
                  <a:gd name="T42" fmla="*/ 33 w 217"/>
                  <a:gd name="T43" fmla="*/ 36 h 249"/>
                  <a:gd name="T44" fmla="*/ 54 w 217"/>
                  <a:gd name="T45" fmla="*/ 17 h 249"/>
                  <a:gd name="T46" fmla="*/ 81 w 217"/>
                  <a:gd name="T47" fmla="*/ 4 h 249"/>
                  <a:gd name="T48" fmla="*/ 110 w 217"/>
                  <a:gd name="T49"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7" h="249">
                    <a:moveTo>
                      <a:pt x="110" y="0"/>
                    </a:moveTo>
                    <a:lnTo>
                      <a:pt x="139" y="4"/>
                    </a:lnTo>
                    <a:lnTo>
                      <a:pt x="164" y="17"/>
                    </a:lnTo>
                    <a:lnTo>
                      <a:pt x="187" y="36"/>
                    </a:lnTo>
                    <a:lnTo>
                      <a:pt x="204" y="61"/>
                    </a:lnTo>
                    <a:lnTo>
                      <a:pt x="213" y="92"/>
                    </a:lnTo>
                    <a:lnTo>
                      <a:pt x="217" y="125"/>
                    </a:lnTo>
                    <a:lnTo>
                      <a:pt x="213" y="157"/>
                    </a:lnTo>
                    <a:lnTo>
                      <a:pt x="204" y="188"/>
                    </a:lnTo>
                    <a:lnTo>
                      <a:pt x="187" y="213"/>
                    </a:lnTo>
                    <a:lnTo>
                      <a:pt x="164" y="232"/>
                    </a:lnTo>
                    <a:lnTo>
                      <a:pt x="139" y="246"/>
                    </a:lnTo>
                    <a:lnTo>
                      <a:pt x="110" y="249"/>
                    </a:lnTo>
                    <a:lnTo>
                      <a:pt x="81" y="246"/>
                    </a:lnTo>
                    <a:lnTo>
                      <a:pt x="54" y="232"/>
                    </a:lnTo>
                    <a:lnTo>
                      <a:pt x="33" y="213"/>
                    </a:lnTo>
                    <a:lnTo>
                      <a:pt x="16" y="188"/>
                    </a:lnTo>
                    <a:lnTo>
                      <a:pt x="4" y="157"/>
                    </a:lnTo>
                    <a:lnTo>
                      <a:pt x="0" y="125"/>
                    </a:lnTo>
                    <a:lnTo>
                      <a:pt x="4" y="92"/>
                    </a:lnTo>
                    <a:lnTo>
                      <a:pt x="16" y="61"/>
                    </a:lnTo>
                    <a:lnTo>
                      <a:pt x="33" y="36"/>
                    </a:lnTo>
                    <a:lnTo>
                      <a:pt x="54" y="17"/>
                    </a:lnTo>
                    <a:lnTo>
                      <a:pt x="81" y="4"/>
                    </a:lnTo>
                    <a:lnTo>
                      <a:pt x="110" y="0"/>
                    </a:lnTo>
                    <a:close/>
                  </a:path>
                </a:pathLst>
              </a:custGeom>
              <a:solidFill>
                <a:srgbClr val="00B29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67" name="Freeform 886"/>
              <p:cNvSpPr>
                <a:spLocks/>
              </p:cNvSpPr>
              <p:nvPr/>
            </p:nvSpPr>
            <p:spPr bwMode="auto">
              <a:xfrm>
                <a:off x="5475288" y="5818188"/>
                <a:ext cx="255588" cy="290513"/>
              </a:xfrm>
              <a:custGeom>
                <a:avLst/>
                <a:gdLst>
                  <a:gd name="T0" fmla="*/ 81 w 161"/>
                  <a:gd name="T1" fmla="*/ 0 h 183"/>
                  <a:gd name="T2" fmla="*/ 106 w 161"/>
                  <a:gd name="T3" fmla="*/ 4 h 183"/>
                  <a:gd name="T4" fmla="*/ 129 w 161"/>
                  <a:gd name="T5" fmla="*/ 18 h 183"/>
                  <a:gd name="T6" fmla="*/ 146 w 161"/>
                  <a:gd name="T7" fmla="*/ 37 h 183"/>
                  <a:gd name="T8" fmla="*/ 158 w 161"/>
                  <a:gd name="T9" fmla="*/ 62 h 183"/>
                  <a:gd name="T10" fmla="*/ 161 w 161"/>
                  <a:gd name="T11" fmla="*/ 91 h 183"/>
                  <a:gd name="T12" fmla="*/ 158 w 161"/>
                  <a:gd name="T13" fmla="*/ 119 h 183"/>
                  <a:gd name="T14" fmla="*/ 146 w 161"/>
                  <a:gd name="T15" fmla="*/ 144 h 183"/>
                  <a:gd name="T16" fmla="*/ 129 w 161"/>
                  <a:gd name="T17" fmla="*/ 165 h 183"/>
                  <a:gd name="T18" fmla="*/ 106 w 161"/>
                  <a:gd name="T19" fmla="*/ 179 h 183"/>
                  <a:gd name="T20" fmla="*/ 81 w 161"/>
                  <a:gd name="T21" fmla="*/ 183 h 183"/>
                  <a:gd name="T22" fmla="*/ 56 w 161"/>
                  <a:gd name="T23" fmla="*/ 179 h 183"/>
                  <a:gd name="T24" fmla="*/ 33 w 161"/>
                  <a:gd name="T25" fmla="*/ 165 h 183"/>
                  <a:gd name="T26" fmla="*/ 15 w 161"/>
                  <a:gd name="T27" fmla="*/ 144 h 183"/>
                  <a:gd name="T28" fmla="*/ 4 w 161"/>
                  <a:gd name="T29" fmla="*/ 119 h 183"/>
                  <a:gd name="T30" fmla="*/ 0 w 161"/>
                  <a:gd name="T31" fmla="*/ 91 h 183"/>
                  <a:gd name="T32" fmla="*/ 4 w 161"/>
                  <a:gd name="T33" fmla="*/ 62 h 183"/>
                  <a:gd name="T34" fmla="*/ 15 w 161"/>
                  <a:gd name="T35" fmla="*/ 37 h 183"/>
                  <a:gd name="T36" fmla="*/ 33 w 161"/>
                  <a:gd name="T37" fmla="*/ 18 h 183"/>
                  <a:gd name="T38" fmla="*/ 56 w 161"/>
                  <a:gd name="T39" fmla="*/ 4 h 183"/>
                  <a:gd name="T40" fmla="*/ 81 w 161"/>
                  <a:gd name="T41"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 h="183">
                    <a:moveTo>
                      <a:pt x="81" y="0"/>
                    </a:moveTo>
                    <a:lnTo>
                      <a:pt x="106" y="4"/>
                    </a:lnTo>
                    <a:lnTo>
                      <a:pt x="129" y="18"/>
                    </a:lnTo>
                    <a:lnTo>
                      <a:pt x="146" y="37"/>
                    </a:lnTo>
                    <a:lnTo>
                      <a:pt x="158" y="62"/>
                    </a:lnTo>
                    <a:lnTo>
                      <a:pt x="161" y="91"/>
                    </a:lnTo>
                    <a:lnTo>
                      <a:pt x="158" y="119"/>
                    </a:lnTo>
                    <a:lnTo>
                      <a:pt x="146" y="144"/>
                    </a:lnTo>
                    <a:lnTo>
                      <a:pt x="129" y="165"/>
                    </a:lnTo>
                    <a:lnTo>
                      <a:pt x="106" y="179"/>
                    </a:lnTo>
                    <a:lnTo>
                      <a:pt x="81" y="183"/>
                    </a:lnTo>
                    <a:lnTo>
                      <a:pt x="56" y="179"/>
                    </a:lnTo>
                    <a:lnTo>
                      <a:pt x="33" y="165"/>
                    </a:lnTo>
                    <a:lnTo>
                      <a:pt x="15" y="144"/>
                    </a:lnTo>
                    <a:lnTo>
                      <a:pt x="4" y="119"/>
                    </a:lnTo>
                    <a:lnTo>
                      <a:pt x="0" y="91"/>
                    </a:lnTo>
                    <a:lnTo>
                      <a:pt x="4" y="62"/>
                    </a:lnTo>
                    <a:lnTo>
                      <a:pt x="15" y="37"/>
                    </a:lnTo>
                    <a:lnTo>
                      <a:pt x="33" y="18"/>
                    </a:lnTo>
                    <a:lnTo>
                      <a:pt x="56" y="4"/>
                    </a:lnTo>
                    <a:lnTo>
                      <a:pt x="81" y="0"/>
                    </a:lnTo>
                    <a:close/>
                  </a:path>
                </a:pathLst>
              </a:custGeom>
              <a:solidFill>
                <a:srgbClr val="00B29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68" name="Rectangle 887"/>
              <p:cNvSpPr>
                <a:spLocks noChangeArrowheads="1"/>
              </p:cNvSpPr>
              <p:nvPr/>
            </p:nvSpPr>
            <p:spPr bwMode="auto">
              <a:xfrm>
                <a:off x="5057776" y="6556375"/>
                <a:ext cx="66675" cy="298450"/>
              </a:xfrm>
              <a:prstGeom prst="rect">
                <a:avLst/>
              </a:prstGeom>
              <a:solidFill>
                <a:srgbClr val="778D8D"/>
              </a:solidFill>
              <a:ln w="0">
                <a:solidFill>
                  <a:srgbClr val="778D8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a:p>
            </p:txBody>
          </p:sp>
          <p:sp>
            <p:nvSpPr>
              <p:cNvPr id="69" name="Freeform 888"/>
              <p:cNvSpPr>
                <a:spLocks/>
              </p:cNvSpPr>
              <p:nvPr/>
            </p:nvSpPr>
            <p:spPr bwMode="auto">
              <a:xfrm>
                <a:off x="4918076" y="6278563"/>
                <a:ext cx="347663" cy="396875"/>
              </a:xfrm>
              <a:custGeom>
                <a:avLst/>
                <a:gdLst>
                  <a:gd name="T0" fmla="*/ 109 w 219"/>
                  <a:gd name="T1" fmla="*/ 0 h 250"/>
                  <a:gd name="T2" fmla="*/ 138 w 219"/>
                  <a:gd name="T3" fmla="*/ 4 h 250"/>
                  <a:gd name="T4" fmla="*/ 163 w 219"/>
                  <a:gd name="T5" fmla="*/ 15 h 250"/>
                  <a:gd name="T6" fmla="*/ 186 w 219"/>
                  <a:gd name="T7" fmla="*/ 37 h 250"/>
                  <a:gd name="T8" fmla="*/ 203 w 219"/>
                  <a:gd name="T9" fmla="*/ 61 h 250"/>
                  <a:gd name="T10" fmla="*/ 215 w 219"/>
                  <a:gd name="T11" fmla="*/ 92 h 250"/>
                  <a:gd name="T12" fmla="*/ 219 w 219"/>
                  <a:gd name="T13" fmla="*/ 125 h 250"/>
                  <a:gd name="T14" fmla="*/ 215 w 219"/>
                  <a:gd name="T15" fmla="*/ 157 h 250"/>
                  <a:gd name="T16" fmla="*/ 203 w 219"/>
                  <a:gd name="T17" fmla="*/ 188 h 250"/>
                  <a:gd name="T18" fmla="*/ 186 w 219"/>
                  <a:gd name="T19" fmla="*/ 213 h 250"/>
                  <a:gd name="T20" fmla="*/ 163 w 219"/>
                  <a:gd name="T21" fmla="*/ 232 h 250"/>
                  <a:gd name="T22" fmla="*/ 138 w 219"/>
                  <a:gd name="T23" fmla="*/ 246 h 250"/>
                  <a:gd name="T24" fmla="*/ 109 w 219"/>
                  <a:gd name="T25" fmla="*/ 250 h 250"/>
                  <a:gd name="T26" fmla="*/ 78 w 219"/>
                  <a:gd name="T27" fmla="*/ 246 h 250"/>
                  <a:gd name="T28" fmla="*/ 53 w 219"/>
                  <a:gd name="T29" fmla="*/ 232 h 250"/>
                  <a:gd name="T30" fmla="*/ 30 w 219"/>
                  <a:gd name="T31" fmla="*/ 213 h 250"/>
                  <a:gd name="T32" fmla="*/ 13 w 219"/>
                  <a:gd name="T33" fmla="*/ 188 h 250"/>
                  <a:gd name="T34" fmla="*/ 3 w 219"/>
                  <a:gd name="T35" fmla="*/ 157 h 250"/>
                  <a:gd name="T36" fmla="*/ 0 w 219"/>
                  <a:gd name="T37" fmla="*/ 125 h 250"/>
                  <a:gd name="T38" fmla="*/ 3 w 219"/>
                  <a:gd name="T39" fmla="*/ 92 h 250"/>
                  <a:gd name="T40" fmla="*/ 13 w 219"/>
                  <a:gd name="T41" fmla="*/ 61 h 250"/>
                  <a:gd name="T42" fmla="*/ 30 w 219"/>
                  <a:gd name="T43" fmla="*/ 37 h 250"/>
                  <a:gd name="T44" fmla="*/ 53 w 219"/>
                  <a:gd name="T45" fmla="*/ 15 h 250"/>
                  <a:gd name="T46" fmla="*/ 78 w 219"/>
                  <a:gd name="T47" fmla="*/ 4 h 250"/>
                  <a:gd name="T48" fmla="*/ 109 w 219"/>
                  <a:gd name="T4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9" h="250">
                    <a:moveTo>
                      <a:pt x="109" y="0"/>
                    </a:moveTo>
                    <a:lnTo>
                      <a:pt x="138" y="4"/>
                    </a:lnTo>
                    <a:lnTo>
                      <a:pt x="163" y="15"/>
                    </a:lnTo>
                    <a:lnTo>
                      <a:pt x="186" y="37"/>
                    </a:lnTo>
                    <a:lnTo>
                      <a:pt x="203" y="61"/>
                    </a:lnTo>
                    <a:lnTo>
                      <a:pt x="215" y="92"/>
                    </a:lnTo>
                    <a:lnTo>
                      <a:pt x="219" y="125"/>
                    </a:lnTo>
                    <a:lnTo>
                      <a:pt x="215" y="157"/>
                    </a:lnTo>
                    <a:lnTo>
                      <a:pt x="203" y="188"/>
                    </a:lnTo>
                    <a:lnTo>
                      <a:pt x="186" y="213"/>
                    </a:lnTo>
                    <a:lnTo>
                      <a:pt x="163" y="232"/>
                    </a:lnTo>
                    <a:lnTo>
                      <a:pt x="138" y="246"/>
                    </a:lnTo>
                    <a:lnTo>
                      <a:pt x="109" y="250"/>
                    </a:lnTo>
                    <a:lnTo>
                      <a:pt x="78" y="246"/>
                    </a:lnTo>
                    <a:lnTo>
                      <a:pt x="53" y="232"/>
                    </a:lnTo>
                    <a:lnTo>
                      <a:pt x="30" y="213"/>
                    </a:lnTo>
                    <a:lnTo>
                      <a:pt x="13" y="188"/>
                    </a:lnTo>
                    <a:lnTo>
                      <a:pt x="3" y="157"/>
                    </a:lnTo>
                    <a:lnTo>
                      <a:pt x="0" y="125"/>
                    </a:lnTo>
                    <a:lnTo>
                      <a:pt x="3" y="92"/>
                    </a:lnTo>
                    <a:lnTo>
                      <a:pt x="13" y="61"/>
                    </a:lnTo>
                    <a:lnTo>
                      <a:pt x="30" y="37"/>
                    </a:lnTo>
                    <a:lnTo>
                      <a:pt x="53" y="15"/>
                    </a:lnTo>
                    <a:lnTo>
                      <a:pt x="78" y="4"/>
                    </a:lnTo>
                    <a:lnTo>
                      <a:pt x="109" y="0"/>
                    </a:lnTo>
                    <a:close/>
                  </a:path>
                </a:pathLst>
              </a:custGeom>
              <a:solidFill>
                <a:srgbClr val="00B29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70" name="Freeform 889"/>
              <p:cNvSpPr>
                <a:spLocks/>
              </p:cNvSpPr>
              <p:nvPr/>
            </p:nvSpPr>
            <p:spPr bwMode="auto">
              <a:xfrm>
                <a:off x="11383963" y="3317875"/>
                <a:ext cx="930275" cy="487682"/>
              </a:xfrm>
              <a:custGeom>
                <a:avLst/>
                <a:gdLst>
                  <a:gd name="T0" fmla="*/ 256 w 586"/>
                  <a:gd name="T1" fmla="*/ 0 h 384"/>
                  <a:gd name="T2" fmla="*/ 298 w 586"/>
                  <a:gd name="T3" fmla="*/ 6 h 384"/>
                  <a:gd name="T4" fmla="*/ 334 w 586"/>
                  <a:gd name="T5" fmla="*/ 19 h 384"/>
                  <a:gd name="T6" fmla="*/ 365 w 586"/>
                  <a:gd name="T7" fmla="*/ 42 h 384"/>
                  <a:gd name="T8" fmla="*/ 390 w 586"/>
                  <a:gd name="T9" fmla="*/ 73 h 384"/>
                  <a:gd name="T10" fmla="*/ 404 w 586"/>
                  <a:gd name="T11" fmla="*/ 65 h 384"/>
                  <a:gd name="T12" fmla="*/ 417 w 586"/>
                  <a:gd name="T13" fmla="*/ 61 h 384"/>
                  <a:gd name="T14" fmla="*/ 434 w 586"/>
                  <a:gd name="T15" fmla="*/ 59 h 384"/>
                  <a:gd name="T16" fmla="*/ 453 w 586"/>
                  <a:gd name="T17" fmla="*/ 61 h 384"/>
                  <a:gd name="T18" fmla="*/ 471 w 586"/>
                  <a:gd name="T19" fmla="*/ 67 h 384"/>
                  <a:gd name="T20" fmla="*/ 486 w 586"/>
                  <a:gd name="T21" fmla="*/ 77 h 384"/>
                  <a:gd name="T22" fmla="*/ 507 w 586"/>
                  <a:gd name="T23" fmla="*/ 96 h 384"/>
                  <a:gd name="T24" fmla="*/ 521 w 586"/>
                  <a:gd name="T25" fmla="*/ 123 h 384"/>
                  <a:gd name="T26" fmla="*/ 526 w 586"/>
                  <a:gd name="T27" fmla="*/ 152 h 384"/>
                  <a:gd name="T28" fmla="*/ 549 w 586"/>
                  <a:gd name="T29" fmla="*/ 171 h 384"/>
                  <a:gd name="T30" fmla="*/ 569 w 586"/>
                  <a:gd name="T31" fmla="*/ 196 h 384"/>
                  <a:gd name="T32" fmla="*/ 580 w 586"/>
                  <a:gd name="T33" fmla="*/ 225 h 384"/>
                  <a:gd name="T34" fmla="*/ 586 w 586"/>
                  <a:gd name="T35" fmla="*/ 255 h 384"/>
                  <a:gd name="T36" fmla="*/ 582 w 586"/>
                  <a:gd name="T37" fmla="*/ 288 h 384"/>
                  <a:gd name="T38" fmla="*/ 571 w 586"/>
                  <a:gd name="T39" fmla="*/ 317 h 384"/>
                  <a:gd name="T40" fmla="*/ 553 w 586"/>
                  <a:gd name="T41" fmla="*/ 342 h 384"/>
                  <a:gd name="T42" fmla="*/ 530 w 586"/>
                  <a:gd name="T43" fmla="*/ 361 h 384"/>
                  <a:gd name="T44" fmla="*/ 503 w 586"/>
                  <a:gd name="T45" fmla="*/ 376 h 384"/>
                  <a:gd name="T46" fmla="*/ 473 w 586"/>
                  <a:gd name="T47" fmla="*/ 384 h 384"/>
                  <a:gd name="T48" fmla="*/ 444 w 586"/>
                  <a:gd name="T49" fmla="*/ 384 h 384"/>
                  <a:gd name="T50" fmla="*/ 409 w 586"/>
                  <a:gd name="T51" fmla="*/ 384 h 384"/>
                  <a:gd name="T52" fmla="*/ 365 w 586"/>
                  <a:gd name="T53" fmla="*/ 384 h 384"/>
                  <a:gd name="T54" fmla="*/ 267 w 586"/>
                  <a:gd name="T55" fmla="*/ 384 h 384"/>
                  <a:gd name="T56" fmla="*/ 221 w 586"/>
                  <a:gd name="T57" fmla="*/ 384 h 384"/>
                  <a:gd name="T58" fmla="*/ 183 w 586"/>
                  <a:gd name="T59" fmla="*/ 384 h 384"/>
                  <a:gd name="T60" fmla="*/ 152 w 586"/>
                  <a:gd name="T61" fmla="*/ 384 h 384"/>
                  <a:gd name="T62" fmla="*/ 133 w 586"/>
                  <a:gd name="T63" fmla="*/ 384 h 384"/>
                  <a:gd name="T64" fmla="*/ 119 w 586"/>
                  <a:gd name="T65" fmla="*/ 384 h 384"/>
                  <a:gd name="T66" fmla="*/ 113 w 586"/>
                  <a:gd name="T67" fmla="*/ 384 h 384"/>
                  <a:gd name="T68" fmla="*/ 112 w 586"/>
                  <a:gd name="T69" fmla="*/ 384 h 384"/>
                  <a:gd name="T70" fmla="*/ 112 w 586"/>
                  <a:gd name="T71" fmla="*/ 384 h 384"/>
                  <a:gd name="T72" fmla="*/ 75 w 586"/>
                  <a:gd name="T73" fmla="*/ 378 h 384"/>
                  <a:gd name="T74" fmla="*/ 46 w 586"/>
                  <a:gd name="T75" fmla="*/ 363 h 384"/>
                  <a:gd name="T76" fmla="*/ 21 w 586"/>
                  <a:gd name="T77" fmla="*/ 340 h 384"/>
                  <a:gd name="T78" fmla="*/ 6 w 586"/>
                  <a:gd name="T79" fmla="*/ 309 h 384"/>
                  <a:gd name="T80" fmla="*/ 0 w 586"/>
                  <a:gd name="T81" fmla="*/ 276 h 384"/>
                  <a:gd name="T82" fmla="*/ 6 w 586"/>
                  <a:gd name="T83" fmla="*/ 244 h 384"/>
                  <a:gd name="T84" fmla="*/ 19 w 586"/>
                  <a:gd name="T85" fmla="*/ 217 h 384"/>
                  <a:gd name="T86" fmla="*/ 39 w 586"/>
                  <a:gd name="T87" fmla="*/ 194 h 384"/>
                  <a:gd name="T88" fmla="*/ 65 w 586"/>
                  <a:gd name="T89" fmla="*/ 177 h 384"/>
                  <a:gd name="T90" fmla="*/ 96 w 586"/>
                  <a:gd name="T91" fmla="*/ 169 h 384"/>
                  <a:gd name="T92" fmla="*/ 96 w 586"/>
                  <a:gd name="T93" fmla="*/ 161 h 384"/>
                  <a:gd name="T94" fmla="*/ 102 w 586"/>
                  <a:gd name="T95" fmla="*/ 125 h 384"/>
                  <a:gd name="T96" fmla="*/ 113 w 586"/>
                  <a:gd name="T97" fmla="*/ 90 h 384"/>
                  <a:gd name="T98" fmla="*/ 131 w 586"/>
                  <a:gd name="T99" fmla="*/ 61 h 384"/>
                  <a:gd name="T100" fmla="*/ 156 w 586"/>
                  <a:gd name="T101" fmla="*/ 36 h 384"/>
                  <a:gd name="T102" fmla="*/ 185 w 586"/>
                  <a:gd name="T103" fmla="*/ 17 h 384"/>
                  <a:gd name="T104" fmla="*/ 219 w 586"/>
                  <a:gd name="T105" fmla="*/ 4 h 384"/>
                  <a:gd name="T106" fmla="*/ 256 w 586"/>
                  <a:gd name="T10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6" h="384">
                    <a:moveTo>
                      <a:pt x="256" y="0"/>
                    </a:moveTo>
                    <a:lnTo>
                      <a:pt x="298" y="6"/>
                    </a:lnTo>
                    <a:lnTo>
                      <a:pt x="334" y="19"/>
                    </a:lnTo>
                    <a:lnTo>
                      <a:pt x="365" y="42"/>
                    </a:lnTo>
                    <a:lnTo>
                      <a:pt x="390" y="73"/>
                    </a:lnTo>
                    <a:lnTo>
                      <a:pt x="404" y="65"/>
                    </a:lnTo>
                    <a:lnTo>
                      <a:pt x="417" y="61"/>
                    </a:lnTo>
                    <a:lnTo>
                      <a:pt x="434" y="59"/>
                    </a:lnTo>
                    <a:lnTo>
                      <a:pt x="453" y="61"/>
                    </a:lnTo>
                    <a:lnTo>
                      <a:pt x="471" y="67"/>
                    </a:lnTo>
                    <a:lnTo>
                      <a:pt x="486" y="77"/>
                    </a:lnTo>
                    <a:lnTo>
                      <a:pt x="507" y="96"/>
                    </a:lnTo>
                    <a:lnTo>
                      <a:pt x="521" y="123"/>
                    </a:lnTo>
                    <a:lnTo>
                      <a:pt x="526" y="152"/>
                    </a:lnTo>
                    <a:lnTo>
                      <a:pt x="549" y="171"/>
                    </a:lnTo>
                    <a:lnTo>
                      <a:pt x="569" y="196"/>
                    </a:lnTo>
                    <a:lnTo>
                      <a:pt x="580" y="225"/>
                    </a:lnTo>
                    <a:lnTo>
                      <a:pt x="586" y="255"/>
                    </a:lnTo>
                    <a:lnTo>
                      <a:pt x="582" y="288"/>
                    </a:lnTo>
                    <a:lnTo>
                      <a:pt x="571" y="317"/>
                    </a:lnTo>
                    <a:lnTo>
                      <a:pt x="553" y="342"/>
                    </a:lnTo>
                    <a:lnTo>
                      <a:pt x="530" y="361"/>
                    </a:lnTo>
                    <a:lnTo>
                      <a:pt x="503" y="376"/>
                    </a:lnTo>
                    <a:lnTo>
                      <a:pt x="473" y="384"/>
                    </a:lnTo>
                    <a:lnTo>
                      <a:pt x="444" y="384"/>
                    </a:lnTo>
                    <a:lnTo>
                      <a:pt x="409" y="384"/>
                    </a:lnTo>
                    <a:lnTo>
                      <a:pt x="365" y="384"/>
                    </a:lnTo>
                    <a:lnTo>
                      <a:pt x="267" y="384"/>
                    </a:lnTo>
                    <a:lnTo>
                      <a:pt x="221" y="384"/>
                    </a:lnTo>
                    <a:lnTo>
                      <a:pt x="183" y="384"/>
                    </a:lnTo>
                    <a:lnTo>
                      <a:pt x="152" y="384"/>
                    </a:lnTo>
                    <a:lnTo>
                      <a:pt x="133" y="384"/>
                    </a:lnTo>
                    <a:lnTo>
                      <a:pt x="119" y="384"/>
                    </a:lnTo>
                    <a:lnTo>
                      <a:pt x="113" y="384"/>
                    </a:lnTo>
                    <a:lnTo>
                      <a:pt x="112" y="384"/>
                    </a:lnTo>
                    <a:lnTo>
                      <a:pt x="112" y="384"/>
                    </a:lnTo>
                    <a:lnTo>
                      <a:pt x="75" y="378"/>
                    </a:lnTo>
                    <a:lnTo>
                      <a:pt x="46" y="363"/>
                    </a:lnTo>
                    <a:lnTo>
                      <a:pt x="21" y="340"/>
                    </a:lnTo>
                    <a:lnTo>
                      <a:pt x="6" y="309"/>
                    </a:lnTo>
                    <a:lnTo>
                      <a:pt x="0" y="276"/>
                    </a:lnTo>
                    <a:lnTo>
                      <a:pt x="6" y="244"/>
                    </a:lnTo>
                    <a:lnTo>
                      <a:pt x="19" y="217"/>
                    </a:lnTo>
                    <a:lnTo>
                      <a:pt x="39" y="194"/>
                    </a:lnTo>
                    <a:lnTo>
                      <a:pt x="65" y="177"/>
                    </a:lnTo>
                    <a:lnTo>
                      <a:pt x="96" y="169"/>
                    </a:lnTo>
                    <a:lnTo>
                      <a:pt x="96" y="161"/>
                    </a:lnTo>
                    <a:lnTo>
                      <a:pt x="102" y="125"/>
                    </a:lnTo>
                    <a:lnTo>
                      <a:pt x="113" y="90"/>
                    </a:lnTo>
                    <a:lnTo>
                      <a:pt x="131" y="61"/>
                    </a:lnTo>
                    <a:lnTo>
                      <a:pt x="156" y="36"/>
                    </a:lnTo>
                    <a:lnTo>
                      <a:pt x="185" y="17"/>
                    </a:lnTo>
                    <a:lnTo>
                      <a:pt x="219" y="4"/>
                    </a:lnTo>
                    <a:lnTo>
                      <a:pt x="256" y="0"/>
                    </a:lnTo>
                    <a:close/>
                  </a:path>
                </a:pathLst>
              </a:custGeom>
              <a:solidFill>
                <a:schemeClr val="tx2">
                  <a:lumMod val="10000"/>
                  <a:lumOff val="9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71" name="Freeform 890"/>
              <p:cNvSpPr>
                <a:spLocks/>
              </p:cNvSpPr>
              <p:nvPr/>
            </p:nvSpPr>
            <p:spPr bwMode="auto">
              <a:xfrm>
                <a:off x="4962526" y="6072188"/>
                <a:ext cx="254000" cy="292100"/>
              </a:xfrm>
              <a:custGeom>
                <a:avLst/>
                <a:gdLst>
                  <a:gd name="T0" fmla="*/ 79 w 160"/>
                  <a:gd name="T1" fmla="*/ 0 h 184"/>
                  <a:gd name="T2" fmla="*/ 104 w 160"/>
                  <a:gd name="T3" fmla="*/ 5 h 184"/>
                  <a:gd name="T4" fmla="*/ 127 w 160"/>
                  <a:gd name="T5" fmla="*/ 19 h 184"/>
                  <a:gd name="T6" fmla="*/ 144 w 160"/>
                  <a:gd name="T7" fmla="*/ 38 h 184"/>
                  <a:gd name="T8" fmla="*/ 156 w 160"/>
                  <a:gd name="T9" fmla="*/ 63 h 184"/>
                  <a:gd name="T10" fmla="*/ 160 w 160"/>
                  <a:gd name="T11" fmla="*/ 92 h 184"/>
                  <a:gd name="T12" fmla="*/ 156 w 160"/>
                  <a:gd name="T13" fmla="*/ 120 h 184"/>
                  <a:gd name="T14" fmla="*/ 144 w 160"/>
                  <a:gd name="T15" fmla="*/ 145 h 184"/>
                  <a:gd name="T16" fmla="*/ 127 w 160"/>
                  <a:gd name="T17" fmla="*/ 167 h 184"/>
                  <a:gd name="T18" fmla="*/ 104 w 160"/>
                  <a:gd name="T19" fmla="*/ 178 h 184"/>
                  <a:gd name="T20" fmla="*/ 79 w 160"/>
                  <a:gd name="T21" fmla="*/ 184 h 184"/>
                  <a:gd name="T22" fmla="*/ 54 w 160"/>
                  <a:gd name="T23" fmla="*/ 178 h 184"/>
                  <a:gd name="T24" fmla="*/ 33 w 160"/>
                  <a:gd name="T25" fmla="*/ 167 h 184"/>
                  <a:gd name="T26" fmla="*/ 16 w 160"/>
                  <a:gd name="T27" fmla="*/ 145 h 184"/>
                  <a:gd name="T28" fmla="*/ 4 w 160"/>
                  <a:gd name="T29" fmla="*/ 120 h 184"/>
                  <a:gd name="T30" fmla="*/ 0 w 160"/>
                  <a:gd name="T31" fmla="*/ 92 h 184"/>
                  <a:gd name="T32" fmla="*/ 4 w 160"/>
                  <a:gd name="T33" fmla="*/ 63 h 184"/>
                  <a:gd name="T34" fmla="*/ 16 w 160"/>
                  <a:gd name="T35" fmla="*/ 38 h 184"/>
                  <a:gd name="T36" fmla="*/ 33 w 160"/>
                  <a:gd name="T37" fmla="*/ 19 h 184"/>
                  <a:gd name="T38" fmla="*/ 54 w 160"/>
                  <a:gd name="T39" fmla="*/ 5 h 184"/>
                  <a:gd name="T40" fmla="*/ 79 w 160"/>
                  <a:gd name="T4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0" h="184">
                    <a:moveTo>
                      <a:pt x="79" y="0"/>
                    </a:moveTo>
                    <a:lnTo>
                      <a:pt x="104" y="5"/>
                    </a:lnTo>
                    <a:lnTo>
                      <a:pt x="127" y="19"/>
                    </a:lnTo>
                    <a:lnTo>
                      <a:pt x="144" y="38"/>
                    </a:lnTo>
                    <a:lnTo>
                      <a:pt x="156" y="63"/>
                    </a:lnTo>
                    <a:lnTo>
                      <a:pt x="160" y="92"/>
                    </a:lnTo>
                    <a:lnTo>
                      <a:pt x="156" y="120"/>
                    </a:lnTo>
                    <a:lnTo>
                      <a:pt x="144" y="145"/>
                    </a:lnTo>
                    <a:lnTo>
                      <a:pt x="127" y="167"/>
                    </a:lnTo>
                    <a:lnTo>
                      <a:pt x="104" y="178"/>
                    </a:lnTo>
                    <a:lnTo>
                      <a:pt x="79" y="184"/>
                    </a:lnTo>
                    <a:lnTo>
                      <a:pt x="54" y="178"/>
                    </a:lnTo>
                    <a:lnTo>
                      <a:pt x="33" y="167"/>
                    </a:lnTo>
                    <a:lnTo>
                      <a:pt x="16" y="145"/>
                    </a:lnTo>
                    <a:lnTo>
                      <a:pt x="4" y="120"/>
                    </a:lnTo>
                    <a:lnTo>
                      <a:pt x="0" y="92"/>
                    </a:lnTo>
                    <a:lnTo>
                      <a:pt x="4" y="63"/>
                    </a:lnTo>
                    <a:lnTo>
                      <a:pt x="16" y="38"/>
                    </a:lnTo>
                    <a:lnTo>
                      <a:pt x="33" y="19"/>
                    </a:lnTo>
                    <a:lnTo>
                      <a:pt x="54" y="5"/>
                    </a:lnTo>
                    <a:lnTo>
                      <a:pt x="79" y="0"/>
                    </a:lnTo>
                    <a:close/>
                  </a:path>
                </a:pathLst>
              </a:custGeom>
              <a:solidFill>
                <a:srgbClr val="00B29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72" name="Freeform 891"/>
              <p:cNvSpPr>
                <a:spLocks/>
              </p:cNvSpPr>
              <p:nvPr/>
            </p:nvSpPr>
            <p:spPr bwMode="auto">
              <a:xfrm>
                <a:off x="5524501" y="5748338"/>
                <a:ext cx="5902325" cy="1230313"/>
              </a:xfrm>
              <a:custGeom>
                <a:avLst/>
                <a:gdLst>
                  <a:gd name="T0" fmla="*/ 1838 w 3718"/>
                  <a:gd name="T1" fmla="*/ 0 h 775"/>
                  <a:gd name="T2" fmla="*/ 1894 w 3718"/>
                  <a:gd name="T3" fmla="*/ 0 h 775"/>
                  <a:gd name="T4" fmla="*/ 1951 w 3718"/>
                  <a:gd name="T5" fmla="*/ 4 h 775"/>
                  <a:gd name="T6" fmla="*/ 2053 w 3718"/>
                  <a:gd name="T7" fmla="*/ 8 h 775"/>
                  <a:gd name="T8" fmla="*/ 2157 w 3718"/>
                  <a:gd name="T9" fmla="*/ 17 h 775"/>
                  <a:gd name="T10" fmla="*/ 2207 w 3718"/>
                  <a:gd name="T11" fmla="*/ 23 h 775"/>
                  <a:gd name="T12" fmla="*/ 2258 w 3718"/>
                  <a:gd name="T13" fmla="*/ 33 h 775"/>
                  <a:gd name="T14" fmla="*/ 2278 w 3718"/>
                  <a:gd name="T15" fmla="*/ 35 h 775"/>
                  <a:gd name="T16" fmla="*/ 2299 w 3718"/>
                  <a:gd name="T17" fmla="*/ 39 h 775"/>
                  <a:gd name="T18" fmla="*/ 2454 w 3718"/>
                  <a:gd name="T19" fmla="*/ 69 h 775"/>
                  <a:gd name="T20" fmla="*/ 2608 w 3718"/>
                  <a:gd name="T21" fmla="*/ 110 h 775"/>
                  <a:gd name="T22" fmla="*/ 2758 w 3718"/>
                  <a:gd name="T23" fmla="*/ 159 h 775"/>
                  <a:gd name="T24" fmla="*/ 2908 w 3718"/>
                  <a:gd name="T25" fmla="*/ 219 h 775"/>
                  <a:gd name="T26" fmla="*/ 3052 w 3718"/>
                  <a:gd name="T27" fmla="*/ 288 h 775"/>
                  <a:gd name="T28" fmla="*/ 3194 w 3718"/>
                  <a:gd name="T29" fmla="*/ 367 h 775"/>
                  <a:gd name="T30" fmla="*/ 3332 w 3718"/>
                  <a:gd name="T31" fmla="*/ 453 h 775"/>
                  <a:gd name="T32" fmla="*/ 3466 w 3718"/>
                  <a:gd name="T33" fmla="*/ 551 h 775"/>
                  <a:gd name="T34" fmla="*/ 3595 w 3718"/>
                  <a:gd name="T35" fmla="*/ 658 h 775"/>
                  <a:gd name="T36" fmla="*/ 3718 w 3718"/>
                  <a:gd name="T37" fmla="*/ 775 h 775"/>
                  <a:gd name="T38" fmla="*/ 3708 w 3718"/>
                  <a:gd name="T39" fmla="*/ 775 h 775"/>
                  <a:gd name="T40" fmla="*/ 3701 w 3718"/>
                  <a:gd name="T41" fmla="*/ 775 h 775"/>
                  <a:gd name="T42" fmla="*/ 3691 w 3718"/>
                  <a:gd name="T43" fmla="*/ 775 h 775"/>
                  <a:gd name="T44" fmla="*/ 3165 w 3718"/>
                  <a:gd name="T45" fmla="*/ 775 h 775"/>
                  <a:gd name="T46" fmla="*/ 3073 w 3718"/>
                  <a:gd name="T47" fmla="*/ 775 h 775"/>
                  <a:gd name="T48" fmla="*/ 2971 w 3718"/>
                  <a:gd name="T49" fmla="*/ 775 h 775"/>
                  <a:gd name="T50" fmla="*/ 2604 w 3718"/>
                  <a:gd name="T51" fmla="*/ 775 h 775"/>
                  <a:gd name="T52" fmla="*/ 2458 w 3718"/>
                  <a:gd name="T53" fmla="*/ 775 h 775"/>
                  <a:gd name="T54" fmla="*/ 2301 w 3718"/>
                  <a:gd name="T55" fmla="*/ 775 h 775"/>
                  <a:gd name="T56" fmla="*/ 2130 w 3718"/>
                  <a:gd name="T57" fmla="*/ 775 h 775"/>
                  <a:gd name="T58" fmla="*/ 1129 w 3718"/>
                  <a:gd name="T59" fmla="*/ 775 h 775"/>
                  <a:gd name="T60" fmla="*/ 1077 w 3718"/>
                  <a:gd name="T61" fmla="*/ 775 h 775"/>
                  <a:gd name="T62" fmla="*/ 951 w 3718"/>
                  <a:gd name="T63" fmla="*/ 775 h 775"/>
                  <a:gd name="T64" fmla="*/ 872 w 3718"/>
                  <a:gd name="T65" fmla="*/ 775 h 775"/>
                  <a:gd name="T66" fmla="*/ 574 w 3718"/>
                  <a:gd name="T67" fmla="*/ 775 h 775"/>
                  <a:gd name="T68" fmla="*/ 451 w 3718"/>
                  <a:gd name="T69" fmla="*/ 775 h 775"/>
                  <a:gd name="T70" fmla="*/ 315 w 3718"/>
                  <a:gd name="T71" fmla="*/ 775 h 775"/>
                  <a:gd name="T72" fmla="*/ 165 w 3718"/>
                  <a:gd name="T73" fmla="*/ 775 h 775"/>
                  <a:gd name="T74" fmla="*/ 0 w 3718"/>
                  <a:gd name="T75" fmla="*/ 775 h 775"/>
                  <a:gd name="T76" fmla="*/ 121 w 3718"/>
                  <a:gd name="T77" fmla="*/ 660 h 775"/>
                  <a:gd name="T78" fmla="*/ 246 w 3718"/>
                  <a:gd name="T79" fmla="*/ 557 h 775"/>
                  <a:gd name="T80" fmla="*/ 374 w 3718"/>
                  <a:gd name="T81" fmla="*/ 461 h 775"/>
                  <a:gd name="T82" fmla="*/ 509 w 3718"/>
                  <a:gd name="T83" fmla="*/ 374 h 775"/>
                  <a:gd name="T84" fmla="*/ 645 w 3718"/>
                  <a:gd name="T85" fmla="*/ 298 h 775"/>
                  <a:gd name="T86" fmla="*/ 787 w 3718"/>
                  <a:gd name="T87" fmla="*/ 229 h 775"/>
                  <a:gd name="T88" fmla="*/ 931 w 3718"/>
                  <a:gd name="T89" fmla="*/ 169 h 775"/>
                  <a:gd name="T90" fmla="*/ 1077 w 3718"/>
                  <a:gd name="T91" fmla="*/ 119 h 775"/>
                  <a:gd name="T92" fmla="*/ 1227 w 3718"/>
                  <a:gd name="T93" fmla="*/ 77 h 775"/>
                  <a:gd name="T94" fmla="*/ 1379 w 3718"/>
                  <a:gd name="T95" fmla="*/ 44 h 775"/>
                  <a:gd name="T96" fmla="*/ 1531 w 3718"/>
                  <a:gd name="T97" fmla="*/ 21 h 775"/>
                  <a:gd name="T98" fmla="*/ 1684 w 3718"/>
                  <a:gd name="T99" fmla="*/ 6 h 775"/>
                  <a:gd name="T100" fmla="*/ 1838 w 3718"/>
                  <a:gd name="T101" fmla="*/ 0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18" h="775">
                    <a:moveTo>
                      <a:pt x="1838" y="0"/>
                    </a:moveTo>
                    <a:lnTo>
                      <a:pt x="1894" y="0"/>
                    </a:lnTo>
                    <a:lnTo>
                      <a:pt x="1951" y="4"/>
                    </a:lnTo>
                    <a:lnTo>
                      <a:pt x="2053" y="8"/>
                    </a:lnTo>
                    <a:lnTo>
                      <a:pt x="2157" y="17"/>
                    </a:lnTo>
                    <a:lnTo>
                      <a:pt x="2207" y="23"/>
                    </a:lnTo>
                    <a:lnTo>
                      <a:pt x="2258" y="33"/>
                    </a:lnTo>
                    <a:lnTo>
                      <a:pt x="2278" y="35"/>
                    </a:lnTo>
                    <a:lnTo>
                      <a:pt x="2299" y="39"/>
                    </a:lnTo>
                    <a:lnTo>
                      <a:pt x="2454" y="69"/>
                    </a:lnTo>
                    <a:lnTo>
                      <a:pt x="2608" y="110"/>
                    </a:lnTo>
                    <a:lnTo>
                      <a:pt x="2758" y="159"/>
                    </a:lnTo>
                    <a:lnTo>
                      <a:pt x="2908" y="219"/>
                    </a:lnTo>
                    <a:lnTo>
                      <a:pt x="3052" y="288"/>
                    </a:lnTo>
                    <a:lnTo>
                      <a:pt x="3194" y="367"/>
                    </a:lnTo>
                    <a:lnTo>
                      <a:pt x="3332" y="453"/>
                    </a:lnTo>
                    <a:lnTo>
                      <a:pt x="3466" y="551"/>
                    </a:lnTo>
                    <a:lnTo>
                      <a:pt x="3595" y="658"/>
                    </a:lnTo>
                    <a:lnTo>
                      <a:pt x="3718" y="775"/>
                    </a:lnTo>
                    <a:lnTo>
                      <a:pt x="3708" y="775"/>
                    </a:lnTo>
                    <a:lnTo>
                      <a:pt x="3701" y="775"/>
                    </a:lnTo>
                    <a:lnTo>
                      <a:pt x="3691" y="775"/>
                    </a:lnTo>
                    <a:lnTo>
                      <a:pt x="3165" y="775"/>
                    </a:lnTo>
                    <a:lnTo>
                      <a:pt x="3073" y="775"/>
                    </a:lnTo>
                    <a:lnTo>
                      <a:pt x="2971" y="775"/>
                    </a:lnTo>
                    <a:lnTo>
                      <a:pt x="2604" y="775"/>
                    </a:lnTo>
                    <a:lnTo>
                      <a:pt x="2458" y="775"/>
                    </a:lnTo>
                    <a:lnTo>
                      <a:pt x="2301" y="775"/>
                    </a:lnTo>
                    <a:lnTo>
                      <a:pt x="2130" y="775"/>
                    </a:lnTo>
                    <a:lnTo>
                      <a:pt x="1129" y="775"/>
                    </a:lnTo>
                    <a:lnTo>
                      <a:pt x="1077" y="775"/>
                    </a:lnTo>
                    <a:lnTo>
                      <a:pt x="951" y="775"/>
                    </a:lnTo>
                    <a:lnTo>
                      <a:pt x="872" y="775"/>
                    </a:lnTo>
                    <a:lnTo>
                      <a:pt x="574" y="775"/>
                    </a:lnTo>
                    <a:lnTo>
                      <a:pt x="451" y="775"/>
                    </a:lnTo>
                    <a:lnTo>
                      <a:pt x="315" y="775"/>
                    </a:lnTo>
                    <a:lnTo>
                      <a:pt x="165" y="775"/>
                    </a:lnTo>
                    <a:lnTo>
                      <a:pt x="0" y="775"/>
                    </a:lnTo>
                    <a:lnTo>
                      <a:pt x="121" y="660"/>
                    </a:lnTo>
                    <a:lnTo>
                      <a:pt x="246" y="557"/>
                    </a:lnTo>
                    <a:lnTo>
                      <a:pt x="374" y="461"/>
                    </a:lnTo>
                    <a:lnTo>
                      <a:pt x="509" y="374"/>
                    </a:lnTo>
                    <a:lnTo>
                      <a:pt x="645" y="298"/>
                    </a:lnTo>
                    <a:lnTo>
                      <a:pt x="787" y="229"/>
                    </a:lnTo>
                    <a:lnTo>
                      <a:pt x="931" y="169"/>
                    </a:lnTo>
                    <a:lnTo>
                      <a:pt x="1077" y="119"/>
                    </a:lnTo>
                    <a:lnTo>
                      <a:pt x="1227" y="77"/>
                    </a:lnTo>
                    <a:lnTo>
                      <a:pt x="1379" y="44"/>
                    </a:lnTo>
                    <a:lnTo>
                      <a:pt x="1531" y="21"/>
                    </a:lnTo>
                    <a:lnTo>
                      <a:pt x="1684" y="6"/>
                    </a:lnTo>
                    <a:lnTo>
                      <a:pt x="1838" y="0"/>
                    </a:lnTo>
                    <a:close/>
                  </a:path>
                </a:pathLst>
              </a:custGeom>
              <a:solidFill>
                <a:srgbClr val="107C1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73" name="Freeform 892"/>
              <p:cNvSpPr>
                <a:spLocks/>
              </p:cNvSpPr>
              <p:nvPr/>
            </p:nvSpPr>
            <p:spPr bwMode="auto">
              <a:xfrm>
                <a:off x="6643688" y="5754688"/>
                <a:ext cx="2103438" cy="1223963"/>
              </a:xfrm>
              <a:custGeom>
                <a:avLst/>
                <a:gdLst>
                  <a:gd name="T0" fmla="*/ 1304 w 1325"/>
                  <a:gd name="T1" fmla="*/ 0 h 771"/>
                  <a:gd name="T2" fmla="*/ 1325 w 1325"/>
                  <a:gd name="T3" fmla="*/ 0 h 771"/>
                  <a:gd name="T4" fmla="*/ 1240 w 1325"/>
                  <a:gd name="T5" fmla="*/ 27 h 771"/>
                  <a:gd name="T6" fmla="*/ 1158 w 1325"/>
                  <a:gd name="T7" fmla="*/ 60 h 771"/>
                  <a:gd name="T8" fmla="*/ 1079 w 1325"/>
                  <a:gd name="T9" fmla="*/ 98 h 771"/>
                  <a:gd name="T10" fmla="*/ 1000 w 1325"/>
                  <a:gd name="T11" fmla="*/ 138 h 771"/>
                  <a:gd name="T12" fmla="*/ 925 w 1325"/>
                  <a:gd name="T13" fmla="*/ 182 h 771"/>
                  <a:gd name="T14" fmla="*/ 852 w 1325"/>
                  <a:gd name="T15" fmla="*/ 228 h 771"/>
                  <a:gd name="T16" fmla="*/ 781 w 1325"/>
                  <a:gd name="T17" fmla="*/ 276 h 771"/>
                  <a:gd name="T18" fmla="*/ 714 w 1325"/>
                  <a:gd name="T19" fmla="*/ 326 h 771"/>
                  <a:gd name="T20" fmla="*/ 651 w 1325"/>
                  <a:gd name="T21" fmla="*/ 376 h 771"/>
                  <a:gd name="T22" fmla="*/ 591 w 1325"/>
                  <a:gd name="T23" fmla="*/ 426 h 771"/>
                  <a:gd name="T24" fmla="*/ 536 w 1325"/>
                  <a:gd name="T25" fmla="*/ 476 h 771"/>
                  <a:gd name="T26" fmla="*/ 484 w 1325"/>
                  <a:gd name="T27" fmla="*/ 522 h 771"/>
                  <a:gd name="T28" fmla="*/ 438 w 1325"/>
                  <a:gd name="T29" fmla="*/ 568 h 771"/>
                  <a:gd name="T30" fmla="*/ 395 w 1325"/>
                  <a:gd name="T31" fmla="*/ 610 h 771"/>
                  <a:gd name="T32" fmla="*/ 357 w 1325"/>
                  <a:gd name="T33" fmla="*/ 649 h 771"/>
                  <a:gd name="T34" fmla="*/ 324 w 1325"/>
                  <a:gd name="T35" fmla="*/ 683 h 771"/>
                  <a:gd name="T36" fmla="*/ 297 w 1325"/>
                  <a:gd name="T37" fmla="*/ 714 h 771"/>
                  <a:gd name="T38" fmla="*/ 276 w 1325"/>
                  <a:gd name="T39" fmla="*/ 737 h 771"/>
                  <a:gd name="T40" fmla="*/ 261 w 1325"/>
                  <a:gd name="T41" fmla="*/ 756 h 771"/>
                  <a:gd name="T42" fmla="*/ 251 w 1325"/>
                  <a:gd name="T43" fmla="*/ 768 h 771"/>
                  <a:gd name="T44" fmla="*/ 247 w 1325"/>
                  <a:gd name="T45" fmla="*/ 771 h 771"/>
                  <a:gd name="T46" fmla="*/ 247 w 1325"/>
                  <a:gd name="T47" fmla="*/ 771 h 771"/>
                  <a:gd name="T48" fmla="*/ 246 w 1325"/>
                  <a:gd name="T49" fmla="*/ 771 h 771"/>
                  <a:gd name="T50" fmla="*/ 240 w 1325"/>
                  <a:gd name="T51" fmla="*/ 771 h 771"/>
                  <a:gd name="T52" fmla="*/ 163 w 1325"/>
                  <a:gd name="T53" fmla="*/ 771 h 771"/>
                  <a:gd name="T54" fmla="*/ 121 w 1325"/>
                  <a:gd name="T55" fmla="*/ 771 h 771"/>
                  <a:gd name="T56" fmla="*/ 67 w 1325"/>
                  <a:gd name="T57" fmla="*/ 771 h 771"/>
                  <a:gd name="T58" fmla="*/ 0 w 1325"/>
                  <a:gd name="T59" fmla="*/ 771 h 771"/>
                  <a:gd name="T60" fmla="*/ 4 w 1325"/>
                  <a:gd name="T61" fmla="*/ 768 h 771"/>
                  <a:gd name="T62" fmla="*/ 13 w 1325"/>
                  <a:gd name="T63" fmla="*/ 756 h 771"/>
                  <a:gd name="T64" fmla="*/ 28 w 1325"/>
                  <a:gd name="T65" fmla="*/ 739 h 771"/>
                  <a:gd name="T66" fmla="*/ 50 w 1325"/>
                  <a:gd name="T67" fmla="*/ 716 h 771"/>
                  <a:gd name="T68" fmla="*/ 76 w 1325"/>
                  <a:gd name="T69" fmla="*/ 687 h 771"/>
                  <a:gd name="T70" fmla="*/ 111 w 1325"/>
                  <a:gd name="T71" fmla="*/ 654 h 771"/>
                  <a:gd name="T72" fmla="*/ 149 w 1325"/>
                  <a:gd name="T73" fmla="*/ 618 h 771"/>
                  <a:gd name="T74" fmla="*/ 194 w 1325"/>
                  <a:gd name="T75" fmla="*/ 576 h 771"/>
                  <a:gd name="T76" fmla="*/ 242 w 1325"/>
                  <a:gd name="T77" fmla="*/ 533 h 771"/>
                  <a:gd name="T78" fmla="*/ 297 w 1325"/>
                  <a:gd name="T79" fmla="*/ 487 h 771"/>
                  <a:gd name="T80" fmla="*/ 357 w 1325"/>
                  <a:gd name="T81" fmla="*/ 441 h 771"/>
                  <a:gd name="T82" fmla="*/ 420 w 1325"/>
                  <a:gd name="T83" fmla="*/ 393 h 771"/>
                  <a:gd name="T84" fmla="*/ 489 w 1325"/>
                  <a:gd name="T85" fmla="*/ 345 h 771"/>
                  <a:gd name="T86" fmla="*/ 562 w 1325"/>
                  <a:gd name="T87" fmla="*/ 297 h 771"/>
                  <a:gd name="T88" fmla="*/ 641 w 1325"/>
                  <a:gd name="T89" fmla="*/ 249 h 771"/>
                  <a:gd name="T90" fmla="*/ 724 w 1325"/>
                  <a:gd name="T91" fmla="*/ 205 h 771"/>
                  <a:gd name="T92" fmla="*/ 810 w 1325"/>
                  <a:gd name="T93" fmla="*/ 161 h 771"/>
                  <a:gd name="T94" fmla="*/ 902 w 1325"/>
                  <a:gd name="T95" fmla="*/ 121 h 771"/>
                  <a:gd name="T96" fmla="*/ 996 w 1325"/>
                  <a:gd name="T97" fmla="*/ 84 h 771"/>
                  <a:gd name="T98" fmla="*/ 1096 w 1325"/>
                  <a:gd name="T99" fmla="*/ 52 h 771"/>
                  <a:gd name="T100" fmla="*/ 1198 w 1325"/>
                  <a:gd name="T101" fmla="*/ 23 h 771"/>
                  <a:gd name="T102" fmla="*/ 1304 w 1325"/>
                  <a:gd name="T103" fmla="*/ 0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5" h="771">
                    <a:moveTo>
                      <a:pt x="1304" y="0"/>
                    </a:moveTo>
                    <a:lnTo>
                      <a:pt x="1325" y="0"/>
                    </a:lnTo>
                    <a:lnTo>
                      <a:pt x="1240" y="27"/>
                    </a:lnTo>
                    <a:lnTo>
                      <a:pt x="1158" y="60"/>
                    </a:lnTo>
                    <a:lnTo>
                      <a:pt x="1079" y="98"/>
                    </a:lnTo>
                    <a:lnTo>
                      <a:pt x="1000" y="138"/>
                    </a:lnTo>
                    <a:lnTo>
                      <a:pt x="925" y="182"/>
                    </a:lnTo>
                    <a:lnTo>
                      <a:pt x="852" y="228"/>
                    </a:lnTo>
                    <a:lnTo>
                      <a:pt x="781" y="276"/>
                    </a:lnTo>
                    <a:lnTo>
                      <a:pt x="714" y="326"/>
                    </a:lnTo>
                    <a:lnTo>
                      <a:pt x="651" y="376"/>
                    </a:lnTo>
                    <a:lnTo>
                      <a:pt x="591" y="426"/>
                    </a:lnTo>
                    <a:lnTo>
                      <a:pt x="536" y="476"/>
                    </a:lnTo>
                    <a:lnTo>
                      <a:pt x="484" y="522"/>
                    </a:lnTo>
                    <a:lnTo>
                      <a:pt x="438" y="568"/>
                    </a:lnTo>
                    <a:lnTo>
                      <a:pt x="395" y="610"/>
                    </a:lnTo>
                    <a:lnTo>
                      <a:pt x="357" y="649"/>
                    </a:lnTo>
                    <a:lnTo>
                      <a:pt x="324" y="683"/>
                    </a:lnTo>
                    <a:lnTo>
                      <a:pt x="297" y="714"/>
                    </a:lnTo>
                    <a:lnTo>
                      <a:pt x="276" y="737"/>
                    </a:lnTo>
                    <a:lnTo>
                      <a:pt x="261" y="756"/>
                    </a:lnTo>
                    <a:lnTo>
                      <a:pt x="251" y="768"/>
                    </a:lnTo>
                    <a:lnTo>
                      <a:pt x="247" y="771"/>
                    </a:lnTo>
                    <a:lnTo>
                      <a:pt x="247" y="771"/>
                    </a:lnTo>
                    <a:lnTo>
                      <a:pt x="246" y="771"/>
                    </a:lnTo>
                    <a:lnTo>
                      <a:pt x="240" y="771"/>
                    </a:lnTo>
                    <a:lnTo>
                      <a:pt x="163" y="771"/>
                    </a:lnTo>
                    <a:lnTo>
                      <a:pt x="121" y="771"/>
                    </a:lnTo>
                    <a:lnTo>
                      <a:pt x="67" y="771"/>
                    </a:lnTo>
                    <a:lnTo>
                      <a:pt x="0" y="771"/>
                    </a:lnTo>
                    <a:lnTo>
                      <a:pt x="4" y="768"/>
                    </a:lnTo>
                    <a:lnTo>
                      <a:pt x="13" y="756"/>
                    </a:lnTo>
                    <a:lnTo>
                      <a:pt x="28" y="739"/>
                    </a:lnTo>
                    <a:lnTo>
                      <a:pt x="50" y="716"/>
                    </a:lnTo>
                    <a:lnTo>
                      <a:pt x="76" y="687"/>
                    </a:lnTo>
                    <a:lnTo>
                      <a:pt x="111" y="654"/>
                    </a:lnTo>
                    <a:lnTo>
                      <a:pt x="149" y="618"/>
                    </a:lnTo>
                    <a:lnTo>
                      <a:pt x="194" y="576"/>
                    </a:lnTo>
                    <a:lnTo>
                      <a:pt x="242" y="533"/>
                    </a:lnTo>
                    <a:lnTo>
                      <a:pt x="297" y="487"/>
                    </a:lnTo>
                    <a:lnTo>
                      <a:pt x="357" y="441"/>
                    </a:lnTo>
                    <a:lnTo>
                      <a:pt x="420" y="393"/>
                    </a:lnTo>
                    <a:lnTo>
                      <a:pt x="489" y="345"/>
                    </a:lnTo>
                    <a:lnTo>
                      <a:pt x="562" y="297"/>
                    </a:lnTo>
                    <a:lnTo>
                      <a:pt x="641" y="249"/>
                    </a:lnTo>
                    <a:lnTo>
                      <a:pt x="724" y="205"/>
                    </a:lnTo>
                    <a:lnTo>
                      <a:pt x="810" y="161"/>
                    </a:lnTo>
                    <a:lnTo>
                      <a:pt x="902" y="121"/>
                    </a:lnTo>
                    <a:lnTo>
                      <a:pt x="996" y="84"/>
                    </a:lnTo>
                    <a:lnTo>
                      <a:pt x="1096" y="52"/>
                    </a:lnTo>
                    <a:lnTo>
                      <a:pt x="1198" y="23"/>
                    </a:lnTo>
                    <a:lnTo>
                      <a:pt x="1304" y="0"/>
                    </a:lnTo>
                    <a:close/>
                  </a:path>
                </a:pathLst>
              </a:custGeom>
              <a:solidFill>
                <a:srgbClr val="E4ECE9"/>
              </a:solidFill>
              <a:ln w="0">
                <a:solidFill>
                  <a:srgbClr val="E4ECE9"/>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74" name="Freeform 893"/>
              <p:cNvSpPr>
                <a:spLocks/>
              </p:cNvSpPr>
              <p:nvPr/>
            </p:nvSpPr>
            <p:spPr bwMode="auto">
              <a:xfrm>
                <a:off x="9036051" y="5891213"/>
                <a:ext cx="612775" cy="1087438"/>
              </a:xfrm>
              <a:custGeom>
                <a:avLst/>
                <a:gdLst>
                  <a:gd name="T0" fmla="*/ 340 w 386"/>
                  <a:gd name="T1" fmla="*/ 0 h 685"/>
                  <a:gd name="T2" fmla="*/ 363 w 386"/>
                  <a:gd name="T3" fmla="*/ 8 h 685"/>
                  <a:gd name="T4" fmla="*/ 386 w 386"/>
                  <a:gd name="T5" fmla="*/ 14 h 685"/>
                  <a:gd name="T6" fmla="*/ 383 w 386"/>
                  <a:gd name="T7" fmla="*/ 16 h 685"/>
                  <a:gd name="T8" fmla="*/ 371 w 386"/>
                  <a:gd name="T9" fmla="*/ 25 h 685"/>
                  <a:gd name="T10" fmla="*/ 354 w 386"/>
                  <a:gd name="T11" fmla="*/ 43 h 685"/>
                  <a:gd name="T12" fmla="*/ 333 w 386"/>
                  <a:gd name="T13" fmla="*/ 64 h 685"/>
                  <a:gd name="T14" fmla="*/ 306 w 386"/>
                  <a:gd name="T15" fmla="*/ 91 h 685"/>
                  <a:gd name="T16" fmla="*/ 279 w 386"/>
                  <a:gd name="T17" fmla="*/ 125 h 685"/>
                  <a:gd name="T18" fmla="*/ 248 w 386"/>
                  <a:gd name="T19" fmla="*/ 162 h 685"/>
                  <a:gd name="T20" fmla="*/ 219 w 386"/>
                  <a:gd name="T21" fmla="*/ 206 h 685"/>
                  <a:gd name="T22" fmla="*/ 190 w 386"/>
                  <a:gd name="T23" fmla="*/ 252 h 685"/>
                  <a:gd name="T24" fmla="*/ 164 w 386"/>
                  <a:gd name="T25" fmla="*/ 304 h 685"/>
                  <a:gd name="T26" fmla="*/ 139 w 386"/>
                  <a:gd name="T27" fmla="*/ 359 h 685"/>
                  <a:gd name="T28" fmla="*/ 119 w 386"/>
                  <a:gd name="T29" fmla="*/ 419 h 685"/>
                  <a:gd name="T30" fmla="*/ 106 w 386"/>
                  <a:gd name="T31" fmla="*/ 480 h 685"/>
                  <a:gd name="T32" fmla="*/ 98 w 386"/>
                  <a:gd name="T33" fmla="*/ 545 h 685"/>
                  <a:gd name="T34" fmla="*/ 98 w 386"/>
                  <a:gd name="T35" fmla="*/ 614 h 685"/>
                  <a:gd name="T36" fmla="*/ 108 w 386"/>
                  <a:gd name="T37" fmla="*/ 685 h 685"/>
                  <a:gd name="T38" fmla="*/ 108 w 386"/>
                  <a:gd name="T39" fmla="*/ 685 h 685"/>
                  <a:gd name="T40" fmla="*/ 106 w 386"/>
                  <a:gd name="T41" fmla="*/ 685 h 685"/>
                  <a:gd name="T42" fmla="*/ 100 w 386"/>
                  <a:gd name="T43" fmla="*/ 685 h 685"/>
                  <a:gd name="T44" fmla="*/ 6 w 386"/>
                  <a:gd name="T45" fmla="*/ 685 h 685"/>
                  <a:gd name="T46" fmla="*/ 0 w 386"/>
                  <a:gd name="T47" fmla="*/ 616 h 685"/>
                  <a:gd name="T48" fmla="*/ 2 w 386"/>
                  <a:gd name="T49" fmla="*/ 549 h 685"/>
                  <a:gd name="T50" fmla="*/ 14 w 386"/>
                  <a:gd name="T51" fmla="*/ 484 h 685"/>
                  <a:gd name="T52" fmla="*/ 31 w 386"/>
                  <a:gd name="T53" fmla="*/ 423 h 685"/>
                  <a:gd name="T54" fmla="*/ 54 w 386"/>
                  <a:gd name="T55" fmla="*/ 365 h 685"/>
                  <a:gd name="T56" fmla="*/ 81 w 386"/>
                  <a:gd name="T57" fmla="*/ 309 h 685"/>
                  <a:gd name="T58" fmla="*/ 112 w 386"/>
                  <a:gd name="T59" fmla="*/ 258 h 685"/>
                  <a:gd name="T60" fmla="*/ 144 w 386"/>
                  <a:gd name="T61" fmla="*/ 210 h 685"/>
                  <a:gd name="T62" fmla="*/ 177 w 386"/>
                  <a:gd name="T63" fmla="*/ 165 h 685"/>
                  <a:gd name="T64" fmla="*/ 210 w 386"/>
                  <a:gd name="T65" fmla="*/ 125 h 685"/>
                  <a:gd name="T66" fmla="*/ 242 w 386"/>
                  <a:gd name="T67" fmla="*/ 91 h 685"/>
                  <a:gd name="T68" fmla="*/ 271 w 386"/>
                  <a:gd name="T69" fmla="*/ 62 h 685"/>
                  <a:gd name="T70" fmla="*/ 296 w 386"/>
                  <a:gd name="T71" fmla="*/ 39 h 685"/>
                  <a:gd name="T72" fmla="*/ 317 w 386"/>
                  <a:gd name="T73" fmla="*/ 20 h 685"/>
                  <a:gd name="T74" fmla="*/ 333 w 386"/>
                  <a:gd name="T75" fmla="*/ 8 h 685"/>
                  <a:gd name="T76" fmla="*/ 340 w 386"/>
                  <a:gd name="T77" fmla="*/ 0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6" h="685">
                    <a:moveTo>
                      <a:pt x="340" y="0"/>
                    </a:moveTo>
                    <a:lnTo>
                      <a:pt x="363" y="8"/>
                    </a:lnTo>
                    <a:lnTo>
                      <a:pt x="386" y="14"/>
                    </a:lnTo>
                    <a:lnTo>
                      <a:pt x="383" y="16"/>
                    </a:lnTo>
                    <a:lnTo>
                      <a:pt x="371" y="25"/>
                    </a:lnTo>
                    <a:lnTo>
                      <a:pt x="354" y="43"/>
                    </a:lnTo>
                    <a:lnTo>
                      <a:pt x="333" y="64"/>
                    </a:lnTo>
                    <a:lnTo>
                      <a:pt x="306" y="91"/>
                    </a:lnTo>
                    <a:lnTo>
                      <a:pt x="279" y="125"/>
                    </a:lnTo>
                    <a:lnTo>
                      <a:pt x="248" y="162"/>
                    </a:lnTo>
                    <a:lnTo>
                      <a:pt x="219" y="206"/>
                    </a:lnTo>
                    <a:lnTo>
                      <a:pt x="190" y="252"/>
                    </a:lnTo>
                    <a:lnTo>
                      <a:pt x="164" y="304"/>
                    </a:lnTo>
                    <a:lnTo>
                      <a:pt x="139" y="359"/>
                    </a:lnTo>
                    <a:lnTo>
                      <a:pt x="119" y="419"/>
                    </a:lnTo>
                    <a:lnTo>
                      <a:pt x="106" y="480"/>
                    </a:lnTo>
                    <a:lnTo>
                      <a:pt x="98" y="545"/>
                    </a:lnTo>
                    <a:lnTo>
                      <a:pt x="98" y="614"/>
                    </a:lnTo>
                    <a:lnTo>
                      <a:pt x="108" y="685"/>
                    </a:lnTo>
                    <a:lnTo>
                      <a:pt x="108" y="685"/>
                    </a:lnTo>
                    <a:lnTo>
                      <a:pt x="106" y="685"/>
                    </a:lnTo>
                    <a:lnTo>
                      <a:pt x="100" y="685"/>
                    </a:lnTo>
                    <a:lnTo>
                      <a:pt x="6" y="685"/>
                    </a:lnTo>
                    <a:lnTo>
                      <a:pt x="0" y="616"/>
                    </a:lnTo>
                    <a:lnTo>
                      <a:pt x="2" y="549"/>
                    </a:lnTo>
                    <a:lnTo>
                      <a:pt x="14" y="484"/>
                    </a:lnTo>
                    <a:lnTo>
                      <a:pt x="31" y="423"/>
                    </a:lnTo>
                    <a:lnTo>
                      <a:pt x="54" y="365"/>
                    </a:lnTo>
                    <a:lnTo>
                      <a:pt x="81" y="309"/>
                    </a:lnTo>
                    <a:lnTo>
                      <a:pt x="112" y="258"/>
                    </a:lnTo>
                    <a:lnTo>
                      <a:pt x="144" y="210"/>
                    </a:lnTo>
                    <a:lnTo>
                      <a:pt x="177" y="165"/>
                    </a:lnTo>
                    <a:lnTo>
                      <a:pt x="210" y="125"/>
                    </a:lnTo>
                    <a:lnTo>
                      <a:pt x="242" y="91"/>
                    </a:lnTo>
                    <a:lnTo>
                      <a:pt x="271" y="62"/>
                    </a:lnTo>
                    <a:lnTo>
                      <a:pt x="296" y="39"/>
                    </a:lnTo>
                    <a:lnTo>
                      <a:pt x="317" y="20"/>
                    </a:lnTo>
                    <a:lnTo>
                      <a:pt x="333" y="8"/>
                    </a:lnTo>
                    <a:lnTo>
                      <a:pt x="340" y="0"/>
                    </a:lnTo>
                    <a:close/>
                  </a:path>
                </a:pathLst>
              </a:custGeom>
              <a:solidFill>
                <a:srgbClr val="E4ECE9"/>
              </a:solidFill>
              <a:ln w="0">
                <a:solidFill>
                  <a:srgbClr val="E4ECE9"/>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75" name="Freeform 894"/>
              <p:cNvSpPr>
                <a:spLocks/>
              </p:cNvSpPr>
              <p:nvPr/>
            </p:nvSpPr>
            <p:spPr bwMode="auto">
              <a:xfrm>
                <a:off x="7035801" y="5754688"/>
                <a:ext cx="2540000" cy="1223963"/>
              </a:xfrm>
              <a:custGeom>
                <a:avLst/>
                <a:gdLst>
                  <a:gd name="T0" fmla="*/ 1078 w 1600"/>
                  <a:gd name="T1" fmla="*/ 0 h 771"/>
                  <a:gd name="T2" fmla="*/ 1255 w 1600"/>
                  <a:gd name="T3" fmla="*/ 17 h 771"/>
                  <a:gd name="T4" fmla="*/ 1427 w 1600"/>
                  <a:gd name="T5" fmla="*/ 46 h 771"/>
                  <a:gd name="T6" fmla="*/ 1600 w 1600"/>
                  <a:gd name="T7" fmla="*/ 86 h 771"/>
                  <a:gd name="T8" fmla="*/ 1593 w 1600"/>
                  <a:gd name="T9" fmla="*/ 92 h 771"/>
                  <a:gd name="T10" fmla="*/ 1577 w 1600"/>
                  <a:gd name="T11" fmla="*/ 106 h 771"/>
                  <a:gd name="T12" fmla="*/ 1556 w 1600"/>
                  <a:gd name="T13" fmla="*/ 123 h 771"/>
                  <a:gd name="T14" fmla="*/ 1531 w 1600"/>
                  <a:gd name="T15" fmla="*/ 148 h 771"/>
                  <a:gd name="T16" fmla="*/ 1502 w 1600"/>
                  <a:gd name="T17" fmla="*/ 177 h 771"/>
                  <a:gd name="T18" fmla="*/ 1470 w 1600"/>
                  <a:gd name="T19" fmla="*/ 211 h 771"/>
                  <a:gd name="T20" fmla="*/ 1437 w 1600"/>
                  <a:gd name="T21" fmla="*/ 251 h 771"/>
                  <a:gd name="T22" fmla="*/ 1404 w 1600"/>
                  <a:gd name="T23" fmla="*/ 296 h 771"/>
                  <a:gd name="T24" fmla="*/ 1372 w 1600"/>
                  <a:gd name="T25" fmla="*/ 344 h 771"/>
                  <a:gd name="T26" fmla="*/ 1341 w 1600"/>
                  <a:gd name="T27" fmla="*/ 395 h 771"/>
                  <a:gd name="T28" fmla="*/ 1314 w 1600"/>
                  <a:gd name="T29" fmla="*/ 451 h 771"/>
                  <a:gd name="T30" fmla="*/ 1291 w 1600"/>
                  <a:gd name="T31" fmla="*/ 509 h 771"/>
                  <a:gd name="T32" fmla="*/ 1274 w 1600"/>
                  <a:gd name="T33" fmla="*/ 570 h 771"/>
                  <a:gd name="T34" fmla="*/ 1262 w 1600"/>
                  <a:gd name="T35" fmla="*/ 635 h 771"/>
                  <a:gd name="T36" fmla="*/ 1260 w 1600"/>
                  <a:gd name="T37" fmla="*/ 702 h 771"/>
                  <a:gd name="T38" fmla="*/ 1266 w 1600"/>
                  <a:gd name="T39" fmla="*/ 771 h 771"/>
                  <a:gd name="T40" fmla="*/ 1086 w 1600"/>
                  <a:gd name="T41" fmla="*/ 771 h 771"/>
                  <a:gd name="T42" fmla="*/ 1038 w 1600"/>
                  <a:gd name="T43" fmla="*/ 771 h 771"/>
                  <a:gd name="T44" fmla="*/ 915 w 1600"/>
                  <a:gd name="T45" fmla="*/ 771 h 771"/>
                  <a:gd name="T46" fmla="*/ 840 w 1600"/>
                  <a:gd name="T47" fmla="*/ 771 h 771"/>
                  <a:gd name="T48" fmla="*/ 552 w 1600"/>
                  <a:gd name="T49" fmla="*/ 771 h 771"/>
                  <a:gd name="T50" fmla="*/ 434 w 1600"/>
                  <a:gd name="T51" fmla="*/ 771 h 771"/>
                  <a:gd name="T52" fmla="*/ 302 w 1600"/>
                  <a:gd name="T53" fmla="*/ 771 h 771"/>
                  <a:gd name="T54" fmla="*/ 158 w 1600"/>
                  <a:gd name="T55" fmla="*/ 771 h 771"/>
                  <a:gd name="T56" fmla="*/ 0 w 1600"/>
                  <a:gd name="T57" fmla="*/ 771 h 771"/>
                  <a:gd name="T58" fmla="*/ 2 w 1600"/>
                  <a:gd name="T59" fmla="*/ 768 h 771"/>
                  <a:gd name="T60" fmla="*/ 12 w 1600"/>
                  <a:gd name="T61" fmla="*/ 756 h 771"/>
                  <a:gd name="T62" fmla="*/ 29 w 1600"/>
                  <a:gd name="T63" fmla="*/ 737 h 771"/>
                  <a:gd name="T64" fmla="*/ 50 w 1600"/>
                  <a:gd name="T65" fmla="*/ 714 h 771"/>
                  <a:gd name="T66" fmla="*/ 77 w 1600"/>
                  <a:gd name="T67" fmla="*/ 683 h 771"/>
                  <a:gd name="T68" fmla="*/ 110 w 1600"/>
                  <a:gd name="T69" fmla="*/ 649 h 771"/>
                  <a:gd name="T70" fmla="*/ 148 w 1600"/>
                  <a:gd name="T71" fmla="*/ 610 h 771"/>
                  <a:gd name="T72" fmla="*/ 191 w 1600"/>
                  <a:gd name="T73" fmla="*/ 568 h 771"/>
                  <a:gd name="T74" fmla="*/ 237 w 1600"/>
                  <a:gd name="T75" fmla="*/ 522 h 771"/>
                  <a:gd name="T76" fmla="*/ 289 w 1600"/>
                  <a:gd name="T77" fmla="*/ 476 h 771"/>
                  <a:gd name="T78" fmla="*/ 344 w 1600"/>
                  <a:gd name="T79" fmla="*/ 426 h 771"/>
                  <a:gd name="T80" fmla="*/ 404 w 1600"/>
                  <a:gd name="T81" fmla="*/ 376 h 771"/>
                  <a:gd name="T82" fmla="*/ 467 w 1600"/>
                  <a:gd name="T83" fmla="*/ 326 h 771"/>
                  <a:gd name="T84" fmla="*/ 534 w 1600"/>
                  <a:gd name="T85" fmla="*/ 276 h 771"/>
                  <a:gd name="T86" fmla="*/ 605 w 1600"/>
                  <a:gd name="T87" fmla="*/ 228 h 771"/>
                  <a:gd name="T88" fmla="*/ 678 w 1600"/>
                  <a:gd name="T89" fmla="*/ 182 h 771"/>
                  <a:gd name="T90" fmla="*/ 753 w 1600"/>
                  <a:gd name="T91" fmla="*/ 138 h 771"/>
                  <a:gd name="T92" fmla="*/ 832 w 1600"/>
                  <a:gd name="T93" fmla="*/ 98 h 771"/>
                  <a:gd name="T94" fmla="*/ 911 w 1600"/>
                  <a:gd name="T95" fmla="*/ 60 h 771"/>
                  <a:gd name="T96" fmla="*/ 993 w 1600"/>
                  <a:gd name="T97" fmla="*/ 27 h 771"/>
                  <a:gd name="T98" fmla="*/ 1078 w 1600"/>
                  <a:gd name="T99" fmla="*/ 0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00" h="771">
                    <a:moveTo>
                      <a:pt x="1078" y="0"/>
                    </a:moveTo>
                    <a:lnTo>
                      <a:pt x="1255" y="17"/>
                    </a:lnTo>
                    <a:lnTo>
                      <a:pt x="1427" y="46"/>
                    </a:lnTo>
                    <a:lnTo>
                      <a:pt x="1600" y="86"/>
                    </a:lnTo>
                    <a:lnTo>
                      <a:pt x="1593" y="92"/>
                    </a:lnTo>
                    <a:lnTo>
                      <a:pt x="1577" y="106"/>
                    </a:lnTo>
                    <a:lnTo>
                      <a:pt x="1556" y="123"/>
                    </a:lnTo>
                    <a:lnTo>
                      <a:pt x="1531" y="148"/>
                    </a:lnTo>
                    <a:lnTo>
                      <a:pt x="1502" y="177"/>
                    </a:lnTo>
                    <a:lnTo>
                      <a:pt x="1470" y="211"/>
                    </a:lnTo>
                    <a:lnTo>
                      <a:pt x="1437" y="251"/>
                    </a:lnTo>
                    <a:lnTo>
                      <a:pt x="1404" y="296"/>
                    </a:lnTo>
                    <a:lnTo>
                      <a:pt x="1372" y="344"/>
                    </a:lnTo>
                    <a:lnTo>
                      <a:pt x="1341" y="395"/>
                    </a:lnTo>
                    <a:lnTo>
                      <a:pt x="1314" y="451"/>
                    </a:lnTo>
                    <a:lnTo>
                      <a:pt x="1291" y="509"/>
                    </a:lnTo>
                    <a:lnTo>
                      <a:pt x="1274" y="570"/>
                    </a:lnTo>
                    <a:lnTo>
                      <a:pt x="1262" y="635"/>
                    </a:lnTo>
                    <a:lnTo>
                      <a:pt x="1260" y="702"/>
                    </a:lnTo>
                    <a:lnTo>
                      <a:pt x="1266" y="771"/>
                    </a:lnTo>
                    <a:lnTo>
                      <a:pt x="1086" y="771"/>
                    </a:lnTo>
                    <a:lnTo>
                      <a:pt x="1038" y="771"/>
                    </a:lnTo>
                    <a:lnTo>
                      <a:pt x="915" y="771"/>
                    </a:lnTo>
                    <a:lnTo>
                      <a:pt x="840" y="771"/>
                    </a:lnTo>
                    <a:lnTo>
                      <a:pt x="552" y="771"/>
                    </a:lnTo>
                    <a:lnTo>
                      <a:pt x="434" y="771"/>
                    </a:lnTo>
                    <a:lnTo>
                      <a:pt x="302" y="771"/>
                    </a:lnTo>
                    <a:lnTo>
                      <a:pt x="158" y="771"/>
                    </a:lnTo>
                    <a:lnTo>
                      <a:pt x="0" y="771"/>
                    </a:lnTo>
                    <a:lnTo>
                      <a:pt x="2" y="768"/>
                    </a:lnTo>
                    <a:lnTo>
                      <a:pt x="12" y="756"/>
                    </a:lnTo>
                    <a:lnTo>
                      <a:pt x="29" y="737"/>
                    </a:lnTo>
                    <a:lnTo>
                      <a:pt x="50" y="714"/>
                    </a:lnTo>
                    <a:lnTo>
                      <a:pt x="77" y="683"/>
                    </a:lnTo>
                    <a:lnTo>
                      <a:pt x="110" y="649"/>
                    </a:lnTo>
                    <a:lnTo>
                      <a:pt x="148" y="610"/>
                    </a:lnTo>
                    <a:lnTo>
                      <a:pt x="191" y="568"/>
                    </a:lnTo>
                    <a:lnTo>
                      <a:pt x="237" y="522"/>
                    </a:lnTo>
                    <a:lnTo>
                      <a:pt x="289" y="476"/>
                    </a:lnTo>
                    <a:lnTo>
                      <a:pt x="344" y="426"/>
                    </a:lnTo>
                    <a:lnTo>
                      <a:pt x="404" y="376"/>
                    </a:lnTo>
                    <a:lnTo>
                      <a:pt x="467" y="326"/>
                    </a:lnTo>
                    <a:lnTo>
                      <a:pt x="534" y="276"/>
                    </a:lnTo>
                    <a:lnTo>
                      <a:pt x="605" y="228"/>
                    </a:lnTo>
                    <a:lnTo>
                      <a:pt x="678" y="182"/>
                    </a:lnTo>
                    <a:lnTo>
                      <a:pt x="753" y="138"/>
                    </a:lnTo>
                    <a:lnTo>
                      <a:pt x="832" y="98"/>
                    </a:lnTo>
                    <a:lnTo>
                      <a:pt x="911" y="60"/>
                    </a:lnTo>
                    <a:lnTo>
                      <a:pt x="993" y="27"/>
                    </a:lnTo>
                    <a:lnTo>
                      <a:pt x="1078" y="0"/>
                    </a:lnTo>
                    <a:close/>
                  </a:path>
                </a:pathLst>
              </a:custGeom>
              <a:solidFill>
                <a:srgbClr val="778D8D"/>
              </a:solidFill>
              <a:ln w="0">
                <a:solidFill>
                  <a:srgbClr val="778D8D"/>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76" name="Freeform 895"/>
              <p:cNvSpPr>
                <a:spLocks/>
              </p:cNvSpPr>
              <p:nvPr/>
            </p:nvSpPr>
            <p:spPr bwMode="auto">
              <a:xfrm>
                <a:off x="9332913" y="5362575"/>
                <a:ext cx="312738" cy="538163"/>
              </a:xfrm>
              <a:custGeom>
                <a:avLst/>
                <a:gdLst>
                  <a:gd name="T0" fmla="*/ 13 w 197"/>
                  <a:gd name="T1" fmla="*/ 0 h 339"/>
                  <a:gd name="T2" fmla="*/ 184 w 197"/>
                  <a:gd name="T3" fmla="*/ 0 h 339"/>
                  <a:gd name="T4" fmla="*/ 188 w 197"/>
                  <a:gd name="T5" fmla="*/ 0 h 339"/>
                  <a:gd name="T6" fmla="*/ 192 w 197"/>
                  <a:gd name="T7" fmla="*/ 1 h 339"/>
                  <a:gd name="T8" fmla="*/ 196 w 197"/>
                  <a:gd name="T9" fmla="*/ 3 h 339"/>
                  <a:gd name="T10" fmla="*/ 197 w 197"/>
                  <a:gd name="T11" fmla="*/ 7 h 339"/>
                  <a:gd name="T12" fmla="*/ 197 w 197"/>
                  <a:gd name="T13" fmla="*/ 13 h 339"/>
                  <a:gd name="T14" fmla="*/ 197 w 197"/>
                  <a:gd name="T15" fmla="*/ 86 h 339"/>
                  <a:gd name="T16" fmla="*/ 197 w 197"/>
                  <a:gd name="T17" fmla="*/ 145 h 339"/>
                  <a:gd name="T18" fmla="*/ 197 w 197"/>
                  <a:gd name="T19" fmla="*/ 195 h 339"/>
                  <a:gd name="T20" fmla="*/ 197 w 197"/>
                  <a:gd name="T21" fmla="*/ 236 h 339"/>
                  <a:gd name="T22" fmla="*/ 197 w 197"/>
                  <a:gd name="T23" fmla="*/ 266 h 339"/>
                  <a:gd name="T24" fmla="*/ 197 w 197"/>
                  <a:gd name="T25" fmla="*/ 289 h 339"/>
                  <a:gd name="T26" fmla="*/ 197 w 197"/>
                  <a:gd name="T27" fmla="*/ 324 h 339"/>
                  <a:gd name="T28" fmla="*/ 197 w 197"/>
                  <a:gd name="T29" fmla="*/ 328 h 339"/>
                  <a:gd name="T30" fmla="*/ 197 w 197"/>
                  <a:gd name="T31" fmla="*/ 328 h 339"/>
                  <a:gd name="T32" fmla="*/ 197 w 197"/>
                  <a:gd name="T33" fmla="*/ 330 h 339"/>
                  <a:gd name="T34" fmla="*/ 197 w 197"/>
                  <a:gd name="T35" fmla="*/ 333 h 339"/>
                  <a:gd name="T36" fmla="*/ 194 w 197"/>
                  <a:gd name="T37" fmla="*/ 337 h 339"/>
                  <a:gd name="T38" fmla="*/ 190 w 197"/>
                  <a:gd name="T39" fmla="*/ 339 h 339"/>
                  <a:gd name="T40" fmla="*/ 184 w 197"/>
                  <a:gd name="T41" fmla="*/ 339 h 339"/>
                  <a:gd name="T42" fmla="*/ 134 w 197"/>
                  <a:gd name="T43" fmla="*/ 339 h 339"/>
                  <a:gd name="T44" fmla="*/ 94 w 197"/>
                  <a:gd name="T45" fmla="*/ 339 h 339"/>
                  <a:gd name="T46" fmla="*/ 63 w 197"/>
                  <a:gd name="T47" fmla="*/ 339 h 339"/>
                  <a:gd name="T48" fmla="*/ 42 w 197"/>
                  <a:gd name="T49" fmla="*/ 339 h 339"/>
                  <a:gd name="T50" fmla="*/ 19 w 197"/>
                  <a:gd name="T51" fmla="*/ 339 h 339"/>
                  <a:gd name="T52" fmla="*/ 15 w 197"/>
                  <a:gd name="T53" fmla="*/ 339 h 339"/>
                  <a:gd name="T54" fmla="*/ 13 w 197"/>
                  <a:gd name="T55" fmla="*/ 339 h 339"/>
                  <a:gd name="T56" fmla="*/ 13 w 197"/>
                  <a:gd name="T57" fmla="*/ 339 h 339"/>
                  <a:gd name="T58" fmla="*/ 7 w 197"/>
                  <a:gd name="T59" fmla="*/ 339 h 339"/>
                  <a:gd name="T60" fmla="*/ 2 w 197"/>
                  <a:gd name="T61" fmla="*/ 337 h 339"/>
                  <a:gd name="T62" fmla="*/ 0 w 197"/>
                  <a:gd name="T63" fmla="*/ 333 h 339"/>
                  <a:gd name="T64" fmla="*/ 0 w 197"/>
                  <a:gd name="T65" fmla="*/ 330 h 339"/>
                  <a:gd name="T66" fmla="*/ 0 w 197"/>
                  <a:gd name="T67" fmla="*/ 107 h 339"/>
                  <a:gd name="T68" fmla="*/ 0 w 197"/>
                  <a:gd name="T69" fmla="*/ 76 h 339"/>
                  <a:gd name="T70" fmla="*/ 0 w 197"/>
                  <a:gd name="T71" fmla="*/ 51 h 339"/>
                  <a:gd name="T72" fmla="*/ 0 w 197"/>
                  <a:gd name="T73" fmla="*/ 17 h 339"/>
                  <a:gd name="T74" fmla="*/ 0 w 197"/>
                  <a:gd name="T75" fmla="*/ 15 h 339"/>
                  <a:gd name="T76" fmla="*/ 0 w 197"/>
                  <a:gd name="T77" fmla="*/ 13 h 339"/>
                  <a:gd name="T78" fmla="*/ 0 w 197"/>
                  <a:gd name="T79" fmla="*/ 13 h 339"/>
                  <a:gd name="T80" fmla="*/ 0 w 197"/>
                  <a:gd name="T81" fmla="*/ 7 h 339"/>
                  <a:gd name="T82" fmla="*/ 2 w 197"/>
                  <a:gd name="T83" fmla="*/ 3 h 339"/>
                  <a:gd name="T84" fmla="*/ 7 w 197"/>
                  <a:gd name="T85" fmla="*/ 0 h 339"/>
                  <a:gd name="T86" fmla="*/ 13 w 197"/>
                  <a:gd name="T87" fmla="*/ 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7" h="339">
                    <a:moveTo>
                      <a:pt x="13" y="0"/>
                    </a:moveTo>
                    <a:lnTo>
                      <a:pt x="184" y="0"/>
                    </a:lnTo>
                    <a:lnTo>
                      <a:pt x="188" y="0"/>
                    </a:lnTo>
                    <a:lnTo>
                      <a:pt x="192" y="1"/>
                    </a:lnTo>
                    <a:lnTo>
                      <a:pt x="196" y="3"/>
                    </a:lnTo>
                    <a:lnTo>
                      <a:pt x="197" y="7"/>
                    </a:lnTo>
                    <a:lnTo>
                      <a:pt x="197" y="13"/>
                    </a:lnTo>
                    <a:lnTo>
                      <a:pt x="197" y="86"/>
                    </a:lnTo>
                    <a:lnTo>
                      <a:pt x="197" y="145"/>
                    </a:lnTo>
                    <a:lnTo>
                      <a:pt x="197" y="195"/>
                    </a:lnTo>
                    <a:lnTo>
                      <a:pt x="197" y="236"/>
                    </a:lnTo>
                    <a:lnTo>
                      <a:pt x="197" y="266"/>
                    </a:lnTo>
                    <a:lnTo>
                      <a:pt x="197" y="289"/>
                    </a:lnTo>
                    <a:lnTo>
                      <a:pt x="197" y="324"/>
                    </a:lnTo>
                    <a:lnTo>
                      <a:pt x="197" y="328"/>
                    </a:lnTo>
                    <a:lnTo>
                      <a:pt x="197" y="328"/>
                    </a:lnTo>
                    <a:lnTo>
                      <a:pt x="197" y="330"/>
                    </a:lnTo>
                    <a:lnTo>
                      <a:pt x="197" y="333"/>
                    </a:lnTo>
                    <a:lnTo>
                      <a:pt x="194" y="337"/>
                    </a:lnTo>
                    <a:lnTo>
                      <a:pt x="190" y="339"/>
                    </a:lnTo>
                    <a:lnTo>
                      <a:pt x="184" y="339"/>
                    </a:lnTo>
                    <a:lnTo>
                      <a:pt x="134" y="339"/>
                    </a:lnTo>
                    <a:lnTo>
                      <a:pt x="94" y="339"/>
                    </a:lnTo>
                    <a:lnTo>
                      <a:pt x="63" y="339"/>
                    </a:lnTo>
                    <a:lnTo>
                      <a:pt x="42" y="339"/>
                    </a:lnTo>
                    <a:lnTo>
                      <a:pt x="19" y="339"/>
                    </a:lnTo>
                    <a:lnTo>
                      <a:pt x="15" y="339"/>
                    </a:lnTo>
                    <a:lnTo>
                      <a:pt x="13" y="339"/>
                    </a:lnTo>
                    <a:lnTo>
                      <a:pt x="13" y="339"/>
                    </a:lnTo>
                    <a:lnTo>
                      <a:pt x="7" y="339"/>
                    </a:lnTo>
                    <a:lnTo>
                      <a:pt x="2" y="337"/>
                    </a:lnTo>
                    <a:lnTo>
                      <a:pt x="0" y="333"/>
                    </a:lnTo>
                    <a:lnTo>
                      <a:pt x="0" y="330"/>
                    </a:lnTo>
                    <a:lnTo>
                      <a:pt x="0" y="107"/>
                    </a:lnTo>
                    <a:lnTo>
                      <a:pt x="0" y="76"/>
                    </a:lnTo>
                    <a:lnTo>
                      <a:pt x="0" y="51"/>
                    </a:lnTo>
                    <a:lnTo>
                      <a:pt x="0" y="17"/>
                    </a:lnTo>
                    <a:lnTo>
                      <a:pt x="0" y="15"/>
                    </a:lnTo>
                    <a:lnTo>
                      <a:pt x="0" y="13"/>
                    </a:lnTo>
                    <a:lnTo>
                      <a:pt x="0" y="13"/>
                    </a:lnTo>
                    <a:lnTo>
                      <a:pt x="0" y="7"/>
                    </a:lnTo>
                    <a:lnTo>
                      <a:pt x="2" y="3"/>
                    </a:lnTo>
                    <a:lnTo>
                      <a:pt x="7" y="0"/>
                    </a:lnTo>
                    <a:lnTo>
                      <a:pt x="13" y="0"/>
                    </a:lnTo>
                    <a:close/>
                  </a:path>
                </a:pathLst>
              </a:custGeom>
              <a:solidFill>
                <a:srgbClr val="2780FF"/>
              </a:solidFill>
              <a:ln w="0">
                <a:solidFill>
                  <a:srgbClr val="2780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77" name="Rectangle 896"/>
              <p:cNvSpPr>
                <a:spLocks noChangeArrowheads="1"/>
              </p:cNvSpPr>
              <p:nvPr/>
            </p:nvSpPr>
            <p:spPr bwMode="auto">
              <a:xfrm>
                <a:off x="9356726" y="5395913"/>
                <a:ext cx="255588" cy="422275"/>
              </a:xfrm>
              <a:prstGeom prst="rect">
                <a:avLst/>
              </a:prstGeom>
              <a:solidFill>
                <a:srgbClr val="4FFEFF"/>
              </a:solidFill>
              <a:ln w="0">
                <a:solidFill>
                  <a:srgbClr val="4FFE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a:p>
            </p:txBody>
          </p:sp>
          <p:sp>
            <p:nvSpPr>
              <p:cNvPr id="78" name="Rectangle 897"/>
              <p:cNvSpPr>
                <a:spLocks noChangeArrowheads="1"/>
              </p:cNvSpPr>
              <p:nvPr/>
            </p:nvSpPr>
            <p:spPr bwMode="auto">
              <a:xfrm>
                <a:off x="8896351" y="5237163"/>
                <a:ext cx="503238" cy="766763"/>
              </a:xfrm>
              <a:prstGeom prst="rect">
                <a:avLst/>
              </a:prstGeom>
              <a:solidFill>
                <a:srgbClr val="8838F7"/>
              </a:solidFill>
              <a:ln w="0">
                <a:solidFill>
                  <a:srgbClr val="8838F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a:p>
            </p:txBody>
          </p:sp>
          <p:sp>
            <p:nvSpPr>
              <p:cNvPr id="79" name="Freeform 898"/>
              <p:cNvSpPr>
                <a:spLocks/>
              </p:cNvSpPr>
              <p:nvPr/>
            </p:nvSpPr>
            <p:spPr bwMode="auto">
              <a:xfrm>
                <a:off x="8951913" y="5322888"/>
                <a:ext cx="395288" cy="66675"/>
              </a:xfrm>
              <a:custGeom>
                <a:avLst/>
                <a:gdLst>
                  <a:gd name="T0" fmla="*/ 21 w 249"/>
                  <a:gd name="T1" fmla="*/ 0 h 42"/>
                  <a:gd name="T2" fmla="*/ 228 w 249"/>
                  <a:gd name="T3" fmla="*/ 0 h 42"/>
                  <a:gd name="T4" fmla="*/ 236 w 249"/>
                  <a:gd name="T5" fmla="*/ 0 h 42"/>
                  <a:gd name="T6" fmla="*/ 240 w 249"/>
                  <a:gd name="T7" fmla="*/ 1 h 42"/>
                  <a:gd name="T8" fmla="*/ 243 w 249"/>
                  <a:gd name="T9" fmla="*/ 5 h 42"/>
                  <a:gd name="T10" fmla="*/ 247 w 249"/>
                  <a:gd name="T11" fmla="*/ 7 h 42"/>
                  <a:gd name="T12" fmla="*/ 247 w 249"/>
                  <a:gd name="T13" fmla="*/ 11 h 42"/>
                  <a:gd name="T14" fmla="*/ 249 w 249"/>
                  <a:gd name="T15" fmla="*/ 15 h 42"/>
                  <a:gd name="T16" fmla="*/ 249 w 249"/>
                  <a:gd name="T17" fmla="*/ 17 h 42"/>
                  <a:gd name="T18" fmla="*/ 249 w 249"/>
                  <a:gd name="T19" fmla="*/ 17 h 42"/>
                  <a:gd name="T20" fmla="*/ 249 w 249"/>
                  <a:gd name="T21" fmla="*/ 21 h 42"/>
                  <a:gd name="T22" fmla="*/ 249 w 249"/>
                  <a:gd name="T23" fmla="*/ 28 h 42"/>
                  <a:gd name="T24" fmla="*/ 247 w 249"/>
                  <a:gd name="T25" fmla="*/ 32 h 42"/>
                  <a:gd name="T26" fmla="*/ 243 w 249"/>
                  <a:gd name="T27" fmla="*/ 36 h 42"/>
                  <a:gd name="T28" fmla="*/ 240 w 249"/>
                  <a:gd name="T29" fmla="*/ 38 h 42"/>
                  <a:gd name="T30" fmla="*/ 238 w 249"/>
                  <a:gd name="T31" fmla="*/ 40 h 42"/>
                  <a:gd name="T32" fmla="*/ 234 w 249"/>
                  <a:gd name="T33" fmla="*/ 42 h 42"/>
                  <a:gd name="T34" fmla="*/ 230 w 249"/>
                  <a:gd name="T35" fmla="*/ 42 h 42"/>
                  <a:gd name="T36" fmla="*/ 228 w 249"/>
                  <a:gd name="T37" fmla="*/ 42 h 42"/>
                  <a:gd name="T38" fmla="*/ 228 w 249"/>
                  <a:gd name="T39" fmla="*/ 42 h 42"/>
                  <a:gd name="T40" fmla="*/ 21 w 249"/>
                  <a:gd name="T41" fmla="*/ 42 h 42"/>
                  <a:gd name="T42" fmla="*/ 13 w 249"/>
                  <a:gd name="T43" fmla="*/ 42 h 42"/>
                  <a:gd name="T44" fmla="*/ 9 w 249"/>
                  <a:gd name="T45" fmla="*/ 40 h 42"/>
                  <a:gd name="T46" fmla="*/ 5 w 249"/>
                  <a:gd name="T47" fmla="*/ 36 h 42"/>
                  <a:gd name="T48" fmla="*/ 3 w 249"/>
                  <a:gd name="T49" fmla="*/ 34 h 42"/>
                  <a:gd name="T50" fmla="*/ 1 w 249"/>
                  <a:gd name="T51" fmla="*/ 30 h 42"/>
                  <a:gd name="T52" fmla="*/ 0 w 249"/>
                  <a:gd name="T53" fmla="*/ 26 h 42"/>
                  <a:gd name="T54" fmla="*/ 0 w 249"/>
                  <a:gd name="T55" fmla="*/ 25 h 42"/>
                  <a:gd name="T56" fmla="*/ 0 w 249"/>
                  <a:gd name="T57" fmla="*/ 23 h 42"/>
                  <a:gd name="T58" fmla="*/ 0 w 249"/>
                  <a:gd name="T59" fmla="*/ 21 h 42"/>
                  <a:gd name="T60" fmla="*/ 0 w 249"/>
                  <a:gd name="T61" fmla="*/ 21 h 42"/>
                  <a:gd name="T62" fmla="*/ 0 w 249"/>
                  <a:gd name="T63" fmla="*/ 21 h 42"/>
                  <a:gd name="T64" fmla="*/ 0 w 249"/>
                  <a:gd name="T65" fmla="*/ 17 h 42"/>
                  <a:gd name="T66" fmla="*/ 0 w 249"/>
                  <a:gd name="T67" fmla="*/ 11 h 42"/>
                  <a:gd name="T68" fmla="*/ 1 w 249"/>
                  <a:gd name="T69" fmla="*/ 7 h 42"/>
                  <a:gd name="T70" fmla="*/ 5 w 249"/>
                  <a:gd name="T71" fmla="*/ 3 h 42"/>
                  <a:gd name="T72" fmla="*/ 9 w 249"/>
                  <a:gd name="T73" fmla="*/ 1 h 42"/>
                  <a:gd name="T74" fmla="*/ 13 w 249"/>
                  <a:gd name="T75" fmla="*/ 0 h 42"/>
                  <a:gd name="T76" fmla="*/ 17 w 249"/>
                  <a:gd name="T77" fmla="*/ 0 h 42"/>
                  <a:gd name="T78" fmla="*/ 19 w 249"/>
                  <a:gd name="T79" fmla="*/ 0 h 42"/>
                  <a:gd name="T80" fmla="*/ 21 w 249"/>
                  <a:gd name="T8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9" h="42">
                    <a:moveTo>
                      <a:pt x="21" y="0"/>
                    </a:moveTo>
                    <a:lnTo>
                      <a:pt x="228" y="0"/>
                    </a:lnTo>
                    <a:lnTo>
                      <a:pt x="236" y="0"/>
                    </a:lnTo>
                    <a:lnTo>
                      <a:pt x="240" y="1"/>
                    </a:lnTo>
                    <a:lnTo>
                      <a:pt x="243" y="5"/>
                    </a:lnTo>
                    <a:lnTo>
                      <a:pt x="247" y="7"/>
                    </a:lnTo>
                    <a:lnTo>
                      <a:pt x="247" y="11"/>
                    </a:lnTo>
                    <a:lnTo>
                      <a:pt x="249" y="15"/>
                    </a:lnTo>
                    <a:lnTo>
                      <a:pt x="249" y="17"/>
                    </a:lnTo>
                    <a:lnTo>
                      <a:pt x="249" y="17"/>
                    </a:lnTo>
                    <a:lnTo>
                      <a:pt x="249" y="21"/>
                    </a:lnTo>
                    <a:lnTo>
                      <a:pt x="249" y="28"/>
                    </a:lnTo>
                    <a:lnTo>
                      <a:pt x="247" y="32"/>
                    </a:lnTo>
                    <a:lnTo>
                      <a:pt x="243" y="36"/>
                    </a:lnTo>
                    <a:lnTo>
                      <a:pt x="240" y="38"/>
                    </a:lnTo>
                    <a:lnTo>
                      <a:pt x="238" y="40"/>
                    </a:lnTo>
                    <a:lnTo>
                      <a:pt x="234" y="42"/>
                    </a:lnTo>
                    <a:lnTo>
                      <a:pt x="230" y="42"/>
                    </a:lnTo>
                    <a:lnTo>
                      <a:pt x="228" y="42"/>
                    </a:lnTo>
                    <a:lnTo>
                      <a:pt x="228" y="42"/>
                    </a:lnTo>
                    <a:lnTo>
                      <a:pt x="21" y="42"/>
                    </a:lnTo>
                    <a:lnTo>
                      <a:pt x="13" y="42"/>
                    </a:lnTo>
                    <a:lnTo>
                      <a:pt x="9" y="40"/>
                    </a:lnTo>
                    <a:lnTo>
                      <a:pt x="5" y="36"/>
                    </a:lnTo>
                    <a:lnTo>
                      <a:pt x="3" y="34"/>
                    </a:lnTo>
                    <a:lnTo>
                      <a:pt x="1" y="30"/>
                    </a:lnTo>
                    <a:lnTo>
                      <a:pt x="0" y="26"/>
                    </a:lnTo>
                    <a:lnTo>
                      <a:pt x="0" y="25"/>
                    </a:lnTo>
                    <a:lnTo>
                      <a:pt x="0" y="23"/>
                    </a:lnTo>
                    <a:lnTo>
                      <a:pt x="0" y="21"/>
                    </a:lnTo>
                    <a:lnTo>
                      <a:pt x="0" y="21"/>
                    </a:lnTo>
                    <a:lnTo>
                      <a:pt x="0" y="21"/>
                    </a:lnTo>
                    <a:lnTo>
                      <a:pt x="0" y="17"/>
                    </a:lnTo>
                    <a:lnTo>
                      <a:pt x="0" y="11"/>
                    </a:lnTo>
                    <a:lnTo>
                      <a:pt x="1" y="7"/>
                    </a:lnTo>
                    <a:lnTo>
                      <a:pt x="5" y="3"/>
                    </a:lnTo>
                    <a:lnTo>
                      <a:pt x="9" y="1"/>
                    </a:lnTo>
                    <a:lnTo>
                      <a:pt x="13" y="0"/>
                    </a:lnTo>
                    <a:lnTo>
                      <a:pt x="17" y="0"/>
                    </a:lnTo>
                    <a:lnTo>
                      <a:pt x="19" y="0"/>
                    </a:lnTo>
                    <a:lnTo>
                      <a:pt x="21" y="0"/>
                    </a:lnTo>
                    <a:close/>
                  </a:path>
                </a:pathLst>
              </a:custGeom>
              <a:solidFill>
                <a:srgbClr val="3F00E1"/>
              </a:solidFill>
              <a:ln w="0">
                <a:solidFill>
                  <a:srgbClr val="3F00E1"/>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80" name="Freeform 899"/>
              <p:cNvSpPr>
                <a:spLocks/>
              </p:cNvSpPr>
              <p:nvPr/>
            </p:nvSpPr>
            <p:spPr bwMode="auto">
              <a:xfrm>
                <a:off x="8951913" y="5440363"/>
                <a:ext cx="395288" cy="73025"/>
              </a:xfrm>
              <a:custGeom>
                <a:avLst/>
                <a:gdLst>
                  <a:gd name="T0" fmla="*/ 21 w 249"/>
                  <a:gd name="T1" fmla="*/ 0 h 46"/>
                  <a:gd name="T2" fmla="*/ 228 w 249"/>
                  <a:gd name="T3" fmla="*/ 0 h 46"/>
                  <a:gd name="T4" fmla="*/ 234 w 249"/>
                  <a:gd name="T5" fmla="*/ 2 h 46"/>
                  <a:gd name="T6" fmla="*/ 240 w 249"/>
                  <a:gd name="T7" fmla="*/ 4 h 46"/>
                  <a:gd name="T8" fmla="*/ 243 w 249"/>
                  <a:gd name="T9" fmla="*/ 6 h 46"/>
                  <a:gd name="T10" fmla="*/ 245 w 249"/>
                  <a:gd name="T11" fmla="*/ 10 h 46"/>
                  <a:gd name="T12" fmla="*/ 247 w 249"/>
                  <a:gd name="T13" fmla="*/ 14 h 46"/>
                  <a:gd name="T14" fmla="*/ 247 w 249"/>
                  <a:gd name="T15" fmla="*/ 18 h 46"/>
                  <a:gd name="T16" fmla="*/ 249 w 249"/>
                  <a:gd name="T17" fmla="*/ 20 h 46"/>
                  <a:gd name="T18" fmla="*/ 249 w 249"/>
                  <a:gd name="T19" fmla="*/ 22 h 46"/>
                  <a:gd name="T20" fmla="*/ 249 w 249"/>
                  <a:gd name="T21" fmla="*/ 22 h 46"/>
                  <a:gd name="T22" fmla="*/ 249 w 249"/>
                  <a:gd name="T23" fmla="*/ 27 h 46"/>
                  <a:gd name="T24" fmla="*/ 247 w 249"/>
                  <a:gd name="T25" fmla="*/ 33 h 46"/>
                  <a:gd name="T26" fmla="*/ 245 w 249"/>
                  <a:gd name="T27" fmla="*/ 37 h 46"/>
                  <a:gd name="T28" fmla="*/ 242 w 249"/>
                  <a:gd name="T29" fmla="*/ 41 h 46"/>
                  <a:gd name="T30" fmla="*/ 238 w 249"/>
                  <a:gd name="T31" fmla="*/ 43 h 46"/>
                  <a:gd name="T32" fmla="*/ 236 w 249"/>
                  <a:gd name="T33" fmla="*/ 45 h 46"/>
                  <a:gd name="T34" fmla="*/ 232 w 249"/>
                  <a:gd name="T35" fmla="*/ 45 h 46"/>
                  <a:gd name="T36" fmla="*/ 230 w 249"/>
                  <a:gd name="T37" fmla="*/ 46 h 46"/>
                  <a:gd name="T38" fmla="*/ 228 w 249"/>
                  <a:gd name="T39" fmla="*/ 46 h 46"/>
                  <a:gd name="T40" fmla="*/ 226 w 249"/>
                  <a:gd name="T41" fmla="*/ 46 h 46"/>
                  <a:gd name="T42" fmla="*/ 222 w 249"/>
                  <a:gd name="T43" fmla="*/ 46 h 46"/>
                  <a:gd name="T44" fmla="*/ 215 w 249"/>
                  <a:gd name="T45" fmla="*/ 46 h 46"/>
                  <a:gd name="T46" fmla="*/ 184 w 249"/>
                  <a:gd name="T47" fmla="*/ 46 h 46"/>
                  <a:gd name="T48" fmla="*/ 157 w 249"/>
                  <a:gd name="T49" fmla="*/ 46 h 46"/>
                  <a:gd name="T50" fmla="*/ 122 w 249"/>
                  <a:gd name="T51" fmla="*/ 46 h 46"/>
                  <a:gd name="T52" fmla="*/ 21 w 249"/>
                  <a:gd name="T53" fmla="*/ 46 h 46"/>
                  <a:gd name="T54" fmla="*/ 13 w 249"/>
                  <a:gd name="T55" fmla="*/ 45 h 46"/>
                  <a:gd name="T56" fmla="*/ 7 w 249"/>
                  <a:gd name="T57" fmla="*/ 43 h 46"/>
                  <a:gd name="T58" fmla="*/ 3 w 249"/>
                  <a:gd name="T59" fmla="*/ 39 h 46"/>
                  <a:gd name="T60" fmla="*/ 1 w 249"/>
                  <a:gd name="T61" fmla="*/ 37 h 46"/>
                  <a:gd name="T62" fmla="*/ 0 w 249"/>
                  <a:gd name="T63" fmla="*/ 33 h 46"/>
                  <a:gd name="T64" fmla="*/ 0 w 249"/>
                  <a:gd name="T65" fmla="*/ 29 h 46"/>
                  <a:gd name="T66" fmla="*/ 0 w 249"/>
                  <a:gd name="T67" fmla="*/ 27 h 46"/>
                  <a:gd name="T68" fmla="*/ 0 w 249"/>
                  <a:gd name="T69" fmla="*/ 27 h 46"/>
                  <a:gd name="T70" fmla="*/ 0 w 249"/>
                  <a:gd name="T71" fmla="*/ 27 h 46"/>
                  <a:gd name="T72" fmla="*/ 0 w 249"/>
                  <a:gd name="T73" fmla="*/ 25 h 46"/>
                  <a:gd name="T74" fmla="*/ 0 w 249"/>
                  <a:gd name="T75" fmla="*/ 22 h 46"/>
                  <a:gd name="T76" fmla="*/ 0 w 249"/>
                  <a:gd name="T77" fmla="*/ 16 h 46"/>
                  <a:gd name="T78" fmla="*/ 1 w 249"/>
                  <a:gd name="T79" fmla="*/ 12 h 46"/>
                  <a:gd name="T80" fmla="*/ 5 w 249"/>
                  <a:gd name="T81" fmla="*/ 8 h 46"/>
                  <a:gd name="T82" fmla="*/ 7 w 249"/>
                  <a:gd name="T83" fmla="*/ 4 h 46"/>
                  <a:gd name="T84" fmla="*/ 11 w 249"/>
                  <a:gd name="T85" fmla="*/ 2 h 46"/>
                  <a:gd name="T86" fmla="*/ 15 w 249"/>
                  <a:gd name="T87" fmla="*/ 2 h 46"/>
                  <a:gd name="T88" fmla="*/ 17 w 249"/>
                  <a:gd name="T89" fmla="*/ 2 h 46"/>
                  <a:gd name="T90" fmla="*/ 19 w 249"/>
                  <a:gd name="T91" fmla="*/ 0 h 46"/>
                  <a:gd name="T92" fmla="*/ 21 w 249"/>
                  <a:gd name="T9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9" h="46">
                    <a:moveTo>
                      <a:pt x="21" y="0"/>
                    </a:moveTo>
                    <a:lnTo>
                      <a:pt x="228" y="0"/>
                    </a:lnTo>
                    <a:lnTo>
                      <a:pt x="234" y="2"/>
                    </a:lnTo>
                    <a:lnTo>
                      <a:pt x="240" y="4"/>
                    </a:lnTo>
                    <a:lnTo>
                      <a:pt x="243" y="6"/>
                    </a:lnTo>
                    <a:lnTo>
                      <a:pt x="245" y="10"/>
                    </a:lnTo>
                    <a:lnTo>
                      <a:pt x="247" y="14"/>
                    </a:lnTo>
                    <a:lnTo>
                      <a:pt x="247" y="18"/>
                    </a:lnTo>
                    <a:lnTo>
                      <a:pt x="249" y="20"/>
                    </a:lnTo>
                    <a:lnTo>
                      <a:pt x="249" y="22"/>
                    </a:lnTo>
                    <a:lnTo>
                      <a:pt x="249" y="22"/>
                    </a:lnTo>
                    <a:lnTo>
                      <a:pt x="249" y="27"/>
                    </a:lnTo>
                    <a:lnTo>
                      <a:pt x="247" y="33"/>
                    </a:lnTo>
                    <a:lnTo>
                      <a:pt x="245" y="37"/>
                    </a:lnTo>
                    <a:lnTo>
                      <a:pt x="242" y="41"/>
                    </a:lnTo>
                    <a:lnTo>
                      <a:pt x="238" y="43"/>
                    </a:lnTo>
                    <a:lnTo>
                      <a:pt x="236" y="45"/>
                    </a:lnTo>
                    <a:lnTo>
                      <a:pt x="232" y="45"/>
                    </a:lnTo>
                    <a:lnTo>
                      <a:pt x="230" y="46"/>
                    </a:lnTo>
                    <a:lnTo>
                      <a:pt x="228" y="46"/>
                    </a:lnTo>
                    <a:lnTo>
                      <a:pt x="226" y="46"/>
                    </a:lnTo>
                    <a:lnTo>
                      <a:pt x="222" y="46"/>
                    </a:lnTo>
                    <a:lnTo>
                      <a:pt x="215" y="46"/>
                    </a:lnTo>
                    <a:lnTo>
                      <a:pt x="184" y="46"/>
                    </a:lnTo>
                    <a:lnTo>
                      <a:pt x="157" y="46"/>
                    </a:lnTo>
                    <a:lnTo>
                      <a:pt x="122" y="46"/>
                    </a:lnTo>
                    <a:lnTo>
                      <a:pt x="21" y="46"/>
                    </a:lnTo>
                    <a:lnTo>
                      <a:pt x="13" y="45"/>
                    </a:lnTo>
                    <a:lnTo>
                      <a:pt x="7" y="43"/>
                    </a:lnTo>
                    <a:lnTo>
                      <a:pt x="3" y="39"/>
                    </a:lnTo>
                    <a:lnTo>
                      <a:pt x="1" y="37"/>
                    </a:lnTo>
                    <a:lnTo>
                      <a:pt x="0" y="33"/>
                    </a:lnTo>
                    <a:lnTo>
                      <a:pt x="0" y="29"/>
                    </a:lnTo>
                    <a:lnTo>
                      <a:pt x="0" y="27"/>
                    </a:lnTo>
                    <a:lnTo>
                      <a:pt x="0" y="27"/>
                    </a:lnTo>
                    <a:lnTo>
                      <a:pt x="0" y="27"/>
                    </a:lnTo>
                    <a:lnTo>
                      <a:pt x="0" y="25"/>
                    </a:lnTo>
                    <a:lnTo>
                      <a:pt x="0" y="22"/>
                    </a:lnTo>
                    <a:lnTo>
                      <a:pt x="0" y="16"/>
                    </a:lnTo>
                    <a:lnTo>
                      <a:pt x="1" y="12"/>
                    </a:lnTo>
                    <a:lnTo>
                      <a:pt x="5" y="8"/>
                    </a:lnTo>
                    <a:lnTo>
                      <a:pt x="7" y="4"/>
                    </a:lnTo>
                    <a:lnTo>
                      <a:pt x="11" y="2"/>
                    </a:lnTo>
                    <a:lnTo>
                      <a:pt x="15" y="2"/>
                    </a:lnTo>
                    <a:lnTo>
                      <a:pt x="17" y="2"/>
                    </a:lnTo>
                    <a:lnTo>
                      <a:pt x="19" y="0"/>
                    </a:lnTo>
                    <a:lnTo>
                      <a:pt x="21" y="0"/>
                    </a:lnTo>
                    <a:close/>
                  </a:path>
                </a:pathLst>
              </a:custGeom>
              <a:solidFill>
                <a:srgbClr val="3F00E1"/>
              </a:solidFill>
              <a:ln w="0">
                <a:solidFill>
                  <a:srgbClr val="3F00E1"/>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81" name="Freeform 900"/>
              <p:cNvSpPr>
                <a:spLocks/>
              </p:cNvSpPr>
              <p:nvPr/>
            </p:nvSpPr>
            <p:spPr bwMode="auto">
              <a:xfrm>
                <a:off x="8951913" y="5568950"/>
                <a:ext cx="395288" cy="69850"/>
              </a:xfrm>
              <a:custGeom>
                <a:avLst/>
                <a:gdLst>
                  <a:gd name="T0" fmla="*/ 134 w 249"/>
                  <a:gd name="T1" fmla="*/ 0 h 44"/>
                  <a:gd name="T2" fmla="*/ 140 w 249"/>
                  <a:gd name="T3" fmla="*/ 0 h 44"/>
                  <a:gd name="T4" fmla="*/ 228 w 249"/>
                  <a:gd name="T5" fmla="*/ 0 h 44"/>
                  <a:gd name="T6" fmla="*/ 236 w 249"/>
                  <a:gd name="T7" fmla="*/ 0 h 44"/>
                  <a:gd name="T8" fmla="*/ 240 w 249"/>
                  <a:gd name="T9" fmla="*/ 4 h 44"/>
                  <a:gd name="T10" fmla="*/ 243 w 249"/>
                  <a:gd name="T11" fmla="*/ 6 h 44"/>
                  <a:gd name="T12" fmla="*/ 247 w 249"/>
                  <a:gd name="T13" fmla="*/ 10 h 44"/>
                  <a:gd name="T14" fmla="*/ 247 w 249"/>
                  <a:gd name="T15" fmla="*/ 13 h 44"/>
                  <a:gd name="T16" fmla="*/ 249 w 249"/>
                  <a:gd name="T17" fmla="*/ 15 h 44"/>
                  <a:gd name="T18" fmla="*/ 249 w 249"/>
                  <a:gd name="T19" fmla="*/ 17 h 44"/>
                  <a:gd name="T20" fmla="*/ 249 w 249"/>
                  <a:gd name="T21" fmla="*/ 19 h 44"/>
                  <a:gd name="T22" fmla="*/ 249 w 249"/>
                  <a:gd name="T23" fmla="*/ 23 h 44"/>
                  <a:gd name="T24" fmla="*/ 249 w 249"/>
                  <a:gd name="T25" fmla="*/ 29 h 44"/>
                  <a:gd name="T26" fmla="*/ 247 w 249"/>
                  <a:gd name="T27" fmla="*/ 35 h 44"/>
                  <a:gd name="T28" fmla="*/ 243 w 249"/>
                  <a:gd name="T29" fmla="*/ 36 h 44"/>
                  <a:gd name="T30" fmla="*/ 240 w 249"/>
                  <a:gd name="T31" fmla="*/ 40 h 44"/>
                  <a:gd name="T32" fmla="*/ 238 w 249"/>
                  <a:gd name="T33" fmla="*/ 42 h 44"/>
                  <a:gd name="T34" fmla="*/ 234 w 249"/>
                  <a:gd name="T35" fmla="*/ 42 h 44"/>
                  <a:gd name="T36" fmla="*/ 230 w 249"/>
                  <a:gd name="T37" fmla="*/ 44 h 44"/>
                  <a:gd name="T38" fmla="*/ 228 w 249"/>
                  <a:gd name="T39" fmla="*/ 44 h 44"/>
                  <a:gd name="T40" fmla="*/ 228 w 249"/>
                  <a:gd name="T41" fmla="*/ 44 h 44"/>
                  <a:gd name="T42" fmla="*/ 21 w 249"/>
                  <a:gd name="T43" fmla="*/ 44 h 44"/>
                  <a:gd name="T44" fmla="*/ 13 w 249"/>
                  <a:gd name="T45" fmla="*/ 42 h 44"/>
                  <a:gd name="T46" fmla="*/ 9 w 249"/>
                  <a:gd name="T47" fmla="*/ 40 h 44"/>
                  <a:gd name="T48" fmla="*/ 5 w 249"/>
                  <a:gd name="T49" fmla="*/ 38 h 44"/>
                  <a:gd name="T50" fmla="*/ 3 w 249"/>
                  <a:gd name="T51" fmla="*/ 35 h 44"/>
                  <a:gd name="T52" fmla="*/ 1 w 249"/>
                  <a:gd name="T53" fmla="*/ 31 h 44"/>
                  <a:gd name="T54" fmla="*/ 0 w 249"/>
                  <a:gd name="T55" fmla="*/ 29 h 44"/>
                  <a:gd name="T56" fmla="*/ 0 w 249"/>
                  <a:gd name="T57" fmla="*/ 25 h 44"/>
                  <a:gd name="T58" fmla="*/ 0 w 249"/>
                  <a:gd name="T59" fmla="*/ 23 h 44"/>
                  <a:gd name="T60" fmla="*/ 0 w 249"/>
                  <a:gd name="T61" fmla="*/ 23 h 44"/>
                  <a:gd name="T62" fmla="*/ 0 w 249"/>
                  <a:gd name="T63" fmla="*/ 23 h 44"/>
                  <a:gd name="T64" fmla="*/ 0 w 249"/>
                  <a:gd name="T65" fmla="*/ 21 h 44"/>
                  <a:gd name="T66" fmla="*/ 0 w 249"/>
                  <a:gd name="T67" fmla="*/ 19 h 44"/>
                  <a:gd name="T68" fmla="*/ 0 w 249"/>
                  <a:gd name="T69" fmla="*/ 13 h 44"/>
                  <a:gd name="T70" fmla="*/ 1 w 249"/>
                  <a:gd name="T71" fmla="*/ 8 h 44"/>
                  <a:gd name="T72" fmla="*/ 5 w 249"/>
                  <a:gd name="T73" fmla="*/ 4 h 44"/>
                  <a:gd name="T74" fmla="*/ 9 w 249"/>
                  <a:gd name="T75" fmla="*/ 2 h 44"/>
                  <a:gd name="T76" fmla="*/ 13 w 249"/>
                  <a:gd name="T77" fmla="*/ 2 h 44"/>
                  <a:gd name="T78" fmla="*/ 17 w 249"/>
                  <a:gd name="T79" fmla="*/ 0 h 44"/>
                  <a:gd name="T80" fmla="*/ 19 w 249"/>
                  <a:gd name="T81" fmla="*/ 0 h 44"/>
                  <a:gd name="T82" fmla="*/ 21 w 249"/>
                  <a:gd name="T83" fmla="*/ 0 h 44"/>
                  <a:gd name="T84" fmla="*/ 132 w 249"/>
                  <a:gd name="T85" fmla="*/ 0 h 44"/>
                  <a:gd name="T86" fmla="*/ 134 w 249"/>
                  <a:gd name="T8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9" h="44">
                    <a:moveTo>
                      <a:pt x="134" y="0"/>
                    </a:moveTo>
                    <a:lnTo>
                      <a:pt x="140" y="0"/>
                    </a:lnTo>
                    <a:lnTo>
                      <a:pt x="228" y="0"/>
                    </a:lnTo>
                    <a:lnTo>
                      <a:pt x="236" y="0"/>
                    </a:lnTo>
                    <a:lnTo>
                      <a:pt x="240" y="4"/>
                    </a:lnTo>
                    <a:lnTo>
                      <a:pt x="243" y="6"/>
                    </a:lnTo>
                    <a:lnTo>
                      <a:pt x="247" y="10"/>
                    </a:lnTo>
                    <a:lnTo>
                      <a:pt x="247" y="13"/>
                    </a:lnTo>
                    <a:lnTo>
                      <a:pt x="249" y="15"/>
                    </a:lnTo>
                    <a:lnTo>
                      <a:pt x="249" y="17"/>
                    </a:lnTo>
                    <a:lnTo>
                      <a:pt x="249" y="19"/>
                    </a:lnTo>
                    <a:lnTo>
                      <a:pt x="249" y="23"/>
                    </a:lnTo>
                    <a:lnTo>
                      <a:pt x="249" y="29"/>
                    </a:lnTo>
                    <a:lnTo>
                      <a:pt x="247" y="35"/>
                    </a:lnTo>
                    <a:lnTo>
                      <a:pt x="243" y="36"/>
                    </a:lnTo>
                    <a:lnTo>
                      <a:pt x="240" y="40"/>
                    </a:lnTo>
                    <a:lnTo>
                      <a:pt x="238" y="42"/>
                    </a:lnTo>
                    <a:lnTo>
                      <a:pt x="234" y="42"/>
                    </a:lnTo>
                    <a:lnTo>
                      <a:pt x="230" y="44"/>
                    </a:lnTo>
                    <a:lnTo>
                      <a:pt x="228" y="44"/>
                    </a:lnTo>
                    <a:lnTo>
                      <a:pt x="228" y="44"/>
                    </a:lnTo>
                    <a:lnTo>
                      <a:pt x="21" y="44"/>
                    </a:lnTo>
                    <a:lnTo>
                      <a:pt x="13" y="42"/>
                    </a:lnTo>
                    <a:lnTo>
                      <a:pt x="9" y="40"/>
                    </a:lnTo>
                    <a:lnTo>
                      <a:pt x="5" y="38"/>
                    </a:lnTo>
                    <a:lnTo>
                      <a:pt x="3" y="35"/>
                    </a:lnTo>
                    <a:lnTo>
                      <a:pt x="1" y="31"/>
                    </a:lnTo>
                    <a:lnTo>
                      <a:pt x="0" y="29"/>
                    </a:lnTo>
                    <a:lnTo>
                      <a:pt x="0" y="25"/>
                    </a:lnTo>
                    <a:lnTo>
                      <a:pt x="0" y="23"/>
                    </a:lnTo>
                    <a:lnTo>
                      <a:pt x="0" y="23"/>
                    </a:lnTo>
                    <a:lnTo>
                      <a:pt x="0" y="23"/>
                    </a:lnTo>
                    <a:lnTo>
                      <a:pt x="0" y="21"/>
                    </a:lnTo>
                    <a:lnTo>
                      <a:pt x="0" y="19"/>
                    </a:lnTo>
                    <a:lnTo>
                      <a:pt x="0" y="13"/>
                    </a:lnTo>
                    <a:lnTo>
                      <a:pt x="1" y="8"/>
                    </a:lnTo>
                    <a:lnTo>
                      <a:pt x="5" y="4"/>
                    </a:lnTo>
                    <a:lnTo>
                      <a:pt x="9" y="2"/>
                    </a:lnTo>
                    <a:lnTo>
                      <a:pt x="13" y="2"/>
                    </a:lnTo>
                    <a:lnTo>
                      <a:pt x="17" y="0"/>
                    </a:lnTo>
                    <a:lnTo>
                      <a:pt x="19" y="0"/>
                    </a:lnTo>
                    <a:lnTo>
                      <a:pt x="21" y="0"/>
                    </a:lnTo>
                    <a:lnTo>
                      <a:pt x="132" y="0"/>
                    </a:lnTo>
                    <a:lnTo>
                      <a:pt x="134" y="0"/>
                    </a:lnTo>
                    <a:close/>
                  </a:path>
                </a:pathLst>
              </a:custGeom>
              <a:solidFill>
                <a:srgbClr val="3F00E1"/>
              </a:solidFill>
              <a:ln w="0">
                <a:solidFill>
                  <a:srgbClr val="3F00E1"/>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82" name="Freeform 901"/>
              <p:cNvSpPr>
                <a:spLocks/>
              </p:cNvSpPr>
              <p:nvPr/>
            </p:nvSpPr>
            <p:spPr bwMode="auto">
              <a:xfrm>
                <a:off x="8951913" y="5691188"/>
                <a:ext cx="395288" cy="73025"/>
              </a:xfrm>
              <a:custGeom>
                <a:avLst/>
                <a:gdLst>
                  <a:gd name="T0" fmla="*/ 21 w 249"/>
                  <a:gd name="T1" fmla="*/ 0 h 46"/>
                  <a:gd name="T2" fmla="*/ 228 w 249"/>
                  <a:gd name="T3" fmla="*/ 0 h 46"/>
                  <a:gd name="T4" fmla="*/ 234 w 249"/>
                  <a:gd name="T5" fmla="*/ 0 h 46"/>
                  <a:gd name="T6" fmla="*/ 240 w 249"/>
                  <a:gd name="T7" fmla="*/ 2 h 46"/>
                  <a:gd name="T8" fmla="*/ 243 w 249"/>
                  <a:gd name="T9" fmla="*/ 6 h 46"/>
                  <a:gd name="T10" fmla="*/ 245 w 249"/>
                  <a:gd name="T11" fmla="*/ 7 h 46"/>
                  <a:gd name="T12" fmla="*/ 247 w 249"/>
                  <a:gd name="T13" fmla="*/ 11 h 46"/>
                  <a:gd name="T14" fmla="*/ 247 w 249"/>
                  <a:gd name="T15" fmla="*/ 15 h 46"/>
                  <a:gd name="T16" fmla="*/ 249 w 249"/>
                  <a:gd name="T17" fmla="*/ 17 h 46"/>
                  <a:gd name="T18" fmla="*/ 249 w 249"/>
                  <a:gd name="T19" fmla="*/ 19 h 46"/>
                  <a:gd name="T20" fmla="*/ 249 w 249"/>
                  <a:gd name="T21" fmla="*/ 21 h 46"/>
                  <a:gd name="T22" fmla="*/ 249 w 249"/>
                  <a:gd name="T23" fmla="*/ 25 h 46"/>
                  <a:gd name="T24" fmla="*/ 249 w 249"/>
                  <a:gd name="T25" fmla="*/ 30 h 46"/>
                  <a:gd name="T26" fmla="*/ 247 w 249"/>
                  <a:gd name="T27" fmla="*/ 36 h 46"/>
                  <a:gd name="T28" fmla="*/ 243 w 249"/>
                  <a:gd name="T29" fmla="*/ 38 h 46"/>
                  <a:gd name="T30" fmla="*/ 240 w 249"/>
                  <a:gd name="T31" fmla="*/ 42 h 46"/>
                  <a:gd name="T32" fmla="*/ 238 w 249"/>
                  <a:gd name="T33" fmla="*/ 44 h 46"/>
                  <a:gd name="T34" fmla="*/ 234 w 249"/>
                  <a:gd name="T35" fmla="*/ 44 h 46"/>
                  <a:gd name="T36" fmla="*/ 230 w 249"/>
                  <a:gd name="T37" fmla="*/ 46 h 46"/>
                  <a:gd name="T38" fmla="*/ 228 w 249"/>
                  <a:gd name="T39" fmla="*/ 46 h 46"/>
                  <a:gd name="T40" fmla="*/ 228 w 249"/>
                  <a:gd name="T41" fmla="*/ 46 h 46"/>
                  <a:gd name="T42" fmla="*/ 21 w 249"/>
                  <a:gd name="T43" fmla="*/ 46 h 46"/>
                  <a:gd name="T44" fmla="*/ 13 w 249"/>
                  <a:gd name="T45" fmla="*/ 44 h 46"/>
                  <a:gd name="T46" fmla="*/ 9 w 249"/>
                  <a:gd name="T47" fmla="*/ 42 h 46"/>
                  <a:gd name="T48" fmla="*/ 5 w 249"/>
                  <a:gd name="T49" fmla="*/ 40 h 46"/>
                  <a:gd name="T50" fmla="*/ 3 w 249"/>
                  <a:gd name="T51" fmla="*/ 36 h 46"/>
                  <a:gd name="T52" fmla="*/ 1 w 249"/>
                  <a:gd name="T53" fmla="*/ 32 h 46"/>
                  <a:gd name="T54" fmla="*/ 0 w 249"/>
                  <a:gd name="T55" fmla="*/ 30 h 46"/>
                  <a:gd name="T56" fmla="*/ 0 w 249"/>
                  <a:gd name="T57" fmla="*/ 27 h 46"/>
                  <a:gd name="T58" fmla="*/ 0 w 249"/>
                  <a:gd name="T59" fmla="*/ 25 h 46"/>
                  <a:gd name="T60" fmla="*/ 0 w 249"/>
                  <a:gd name="T61" fmla="*/ 25 h 46"/>
                  <a:gd name="T62" fmla="*/ 0 w 249"/>
                  <a:gd name="T63" fmla="*/ 25 h 46"/>
                  <a:gd name="T64" fmla="*/ 0 w 249"/>
                  <a:gd name="T65" fmla="*/ 23 h 46"/>
                  <a:gd name="T66" fmla="*/ 0 w 249"/>
                  <a:gd name="T67" fmla="*/ 21 h 46"/>
                  <a:gd name="T68" fmla="*/ 0 w 249"/>
                  <a:gd name="T69" fmla="*/ 15 h 46"/>
                  <a:gd name="T70" fmla="*/ 1 w 249"/>
                  <a:gd name="T71" fmla="*/ 9 h 46"/>
                  <a:gd name="T72" fmla="*/ 5 w 249"/>
                  <a:gd name="T73" fmla="*/ 6 h 46"/>
                  <a:gd name="T74" fmla="*/ 7 w 249"/>
                  <a:gd name="T75" fmla="*/ 4 h 46"/>
                  <a:gd name="T76" fmla="*/ 11 w 249"/>
                  <a:gd name="T77" fmla="*/ 2 h 46"/>
                  <a:gd name="T78" fmla="*/ 15 w 249"/>
                  <a:gd name="T79" fmla="*/ 0 h 46"/>
                  <a:gd name="T80" fmla="*/ 17 w 249"/>
                  <a:gd name="T81" fmla="*/ 0 h 46"/>
                  <a:gd name="T82" fmla="*/ 19 w 249"/>
                  <a:gd name="T83" fmla="*/ 0 h 46"/>
                  <a:gd name="T84" fmla="*/ 21 w 249"/>
                  <a:gd name="T8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9" h="46">
                    <a:moveTo>
                      <a:pt x="21" y="0"/>
                    </a:moveTo>
                    <a:lnTo>
                      <a:pt x="228" y="0"/>
                    </a:lnTo>
                    <a:lnTo>
                      <a:pt x="234" y="0"/>
                    </a:lnTo>
                    <a:lnTo>
                      <a:pt x="240" y="2"/>
                    </a:lnTo>
                    <a:lnTo>
                      <a:pt x="243" y="6"/>
                    </a:lnTo>
                    <a:lnTo>
                      <a:pt x="245" y="7"/>
                    </a:lnTo>
                    <a:lnTo>
                      <a:pt x="247" y="11"/>
                    </a:lnTo>
                    <a:lnTo>
                      <a:pt x="247" y="15"/>
                    </a:lnTo>
                    <a:lnTo>
                      <a:pt x="249" y="17"/>
                    </a:lnTo>
                    <a:lnTo>
                      <a:pt x="249" y="19"/>
                    </a:lnTo>
                    <a:lnTo>
                      <a:pt x="249" y="21"/>
                    </a:lnTo>
                    <a:lnTo>
                      <a:pt x="249" y="25"/>
                    </a:lnTo>
                    <a:lnTo>
                      <a:pt x="249" y="30"/>
                    </a:lnTo>
                    <a:lnTo>
                      <a:pt x="247" y="36"/>
                    </a:lnTo>
                    <a:lnTo>
                      <a:pt x="243" y="38"/>
                    </a:lnTo>
                    <a:lnTo>
                      <a:pt x="240" y="42"/>
                    </a:lnTo>
                    <a:lnTo>
                      <a:pt x="238" y="44"/>
                    </a:lnTo>
                    <a:lnTo>
                      <a:pt x="234" y="44"/>
                    </a:lnTo>
                    <a:lnTo>
                      <a:pt x="230" y="46"/>
                    </a:lnTo>
                    <a:lnTo>
                      <a:pt x="228" y="46"/>
                    </a:lnTo>
                    <a:lnTo>
                      <a:pt x="228" y="46"/>
                    </a:lnTo>
                    <a:lnTo>
                      <a:pt x="21" y="46"/>
                    </a:lnTo>
                    <a:lnTo>
                      <a:pt x="13" y="44"/>
                    </a:lnTo>
                    <a:lnTo>
                      <a:pt x="9" y="42"/>
                    </a:lnTo>
                    <a:lnTo>
                      <a:pt x="5" y="40"/>
                    </a:lnTo>
                    <a:lnTo>
                      <a:pt x="3" y="36"/>
                    </a:lnTo>
                    <a:lnTo>
                      <a:pt x="1" y="32"/>
                    </a:lnTo>
                    <a:lnTo>
                      <a:pt x="0" y="30"/>
                    </a:lnTo>
                    <a:lnTo>
                      <a:pt x="0" y="27"/>
                    </a:lnTo>
                    <a:lnTo>
                      <a:pt x="0" y="25"/>
                    </a:lnTo>
                    <a:lnTo>
                      <a:pt x="0" y="25"/>
                    </a:lnTo>
                    <a:lnTo>
                      <a:pt x="0" y="25"/>
                    </a:lnTo>
                    <a:lnTo>
                      <a:pt x="0" y="23"/>
                    </a:lnTo>
                    <a:lnTo>
                      <a:pt x="0" y="21"/>
                    </a:lnTo>
                    <a:lnTo>
                      <a:pt x="0" y="15"/>
                    </a:lnTo>
                    <a:lnTo>
                      <a:pt x="1" y="9"/>
                    </a:lnTo>
                    <a:lnTo>
                      <a:pt x="5" y="6"/>
                    </a:lnTo>
                    <a:lnTo>
                      <a:pt x="7" y="4"/>
                    </a:lnTo>
                    <a:lnTo>
                      <a:pt x="11" y="2"/>
                    </a:lnTo>
                    <a:lnTo>
                      <a:pt x="15" y="0"/>
                    </a:lnTo>
                    <a:lnTo>
                      <a:pt x="17" y="0"/>
                    </a:lnTo>
                    <a:lnTo>
                      <a:pt x="19" y="0"/>
                    </a:lnTo>
                    <a:lnTo>
                      <a:pt x="21" y="0"/>
                    </a:lnTo>
                    <a:close/>
                  </a:path>
                </a:pathLst>
              </a:custGeom>
              <a:solidFill>
                <a:srgbClr val="3F00E1"/>
              </a:solidFill>
              <a:ln w="0">
                <a:solidFill>
                  <a:srgbClr val="3F00E1"/>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83" name="Freeform 902"/>
              <p:cNvSpPr>
                <a:spLocks/>
              </p:cNvSpPr>
              <p:nvPr/>
            </p:nvSpPr>
            <p:spPr bwMode="auto">
              <a:xfrm>
                <a:off x="8951913" y="5813425"/>
                <a:ext cx="395288" cy="73025"/>
              </a:xfrm>
              <a:custGeom>
                <a:avLst/>
                <a:gdLst>
                  <a:gd name="T0" fmla="*/ 134 w 249"/>
                  <a:gd name="T1" fmla="*/ 0 h 46"/>
                  <a:gd name="T2" fmla="*/ 140 w 249"/>
                  <a:gd name="T3" fmla="*/ 0 h 46"/>
                  <a:gd name="T4" fmla="*/ 149 w 249"/>
                  <a:gd name="T5" fmla="*/ 0 h 46"/>
                  <a:gd name="T6" fmla="*/ 167 w 249"/>
                  <a:gd name="T7" fmla="*/ 0 h 46"/>
                  <a:gd name="T8" fmla="*/ 192 w 249"/>
                  <a:gd name="T9" fmla="*/ 0 h 46"/>
                  <a:gd name="T10" fmla="*/ 228 w 249"/>
                  <a:gd name="T11" fmla="*/ 0 h 46"/>
                  <a:gd name="T12" fmla="*/ 234 w 249"/>
                  <a:gd name="T13" fmla="*/ 1 h 46"/>
                  <a:gd name="T14" fmla="*/ 240 w 249"/>
                  <a:gd name="T15" fmla="*/ 3 h 46"/>
                  <a:gd name="T16" fmla="*/ 243 w 249"/>
                  <a:gd name="T17" fmla="*/ 5 h 46"/>
                  <a:gd name="T18" fmla="*/ 245 w 249"/>
                  <a:gd name="T19" fmla="*/ 9 h 46"/>
                  <a:gd name="T20" fmla="*/ 247 w 249"/>
                  <a:gd name="T21" fmla="*/ 13 h 46"/>
                  <a:gd name="T22" fmla="*/ 247 w 249"/>
                  <a:gd name="T23" fmla="*/ 17 h 46"/>
                  <a:gd name="T24" fmla="*/ 249 w 249"/>
                  <a:gd name="T25" fmla="*/ 19 h 46"/>
                  <a:gd name="T26" fmla="*/ 249 w 249"/>
                  <a:gd name="T27" fmla="*/ 21 h 46"/>
                  <a:gd name="T28" fmla="*/ 249 w 249"/>
                  <a:gd name="T29" fmla="*/ 21 h 46"/>
                  <a:gd name="T30" fmla="*/ 249 w 249"/>
                  <a:gd name="T31" fmla="*/ 26 h 46"/>
                  <a:gd name="T32" fmla="*/ 247 w 249"/>
                  <a:gd name="T33" fmla="*/ 32 h 46"/>
                  <a:gd name="T34" fmla="*/ 245 w 249"/>
                  <a:gd name="T35" fmla="*/ 36 h 46"/>
                  <a:gd name="T36" fmla="*/ 242 w 249"/>
                  <a:gd name="T37" fmla="*/ 40 h 46"/>
                  <a:gd name="T38" fmla="*/ 238 w 249"/>
                  <a:gd name="T39" fmla="*/ 42 h 46"/>
                  <a:gd name="T40" fmla="*/ 236 w 249"/>
                  <a:gd name="T41" fmla="*/ 44 h 46"/>
                  <a:gd name="T42" fmla="*/ 232 w 249"/>
                  <a:gd name="T43" fmla="*/ 44 h 46"/>
                  <a:gd name="T44" fmla="*/ 230 w 249"/>
                  <a:gd name="T45" fmla="*/ 46 h 46"/>
                  <a:gd name="T46" fmla="*/ 228 w 249"/>
                  <a:gd name="T47" fmla="*/ 46 h 46"/>
                  <a:gd name="T48" fmla="*/ 228 w 249"/>
                  <a:gd name="T49" fmla="*/ 46 h 46"/>
                  <a:gd name="T50" fmla="*/ 226 w 249"/>
                  <a:gd name="T51" fmla="*/ 46 h 46"/>
                  <a:gd name="T52" fmla="*/ 222 w 249"/>
                  <a:gd name="T53" fmla="*/ 46 h 46"/>
                  <a:gd name="T54" fmla="*/ 157 w 249"/>
                  <a:gd name="T55" fmla="*/ 46 h 46"/>
                  <a:gd name="T56" fmla="*/ 122 w 249"/>
                  <a:gd name="T57" fmla="*/ 46 h 46"/>
                  <a:gd name="T58" fmla="*/ 76 w 249"/>
                  <a:gd name="T59" fmla="*/ 46 h 46"/>
                  <a:gd name="T60" fmla="*/ 21 w 249"/>
                  <a:gd name="T61" fmla="*/ 46 h 46"/>
                  <a:gd name="T62" fmla="*/ 13 w 249"/>
                  <a:gd name="T63" fmla="*/ 44 h 46"/>
                  <a:gd name="T64" fmla="*/ 7 w 249"/>
                  <a:gd name="T65" fmla="*/ 42 h 46"/>
                  <a:gd name="T66" fmla="*/ 3 w 249"/>
                  <a:gd name="T67" fmla="*/ 38 h 46"/>
                  <a:gd name="T68" fmla="*/ 1 w 249"/>
                  <a:gd name="T69" fmla="*/ 36 h 46"/>
                  <a:gd name="T70" fmla="*/ 0 w 249"/>
                  <a:gd name="T71" fmla="*/ 32 h 46"/>
                  <a:gd name="T72" fmla="*/ 0 w 249"/>
                  <a:gd name="T73" fmla="*/ 28 h 46"/>
                  <a:gd name="T74" fmla="*/ 0 w 249"/>
                  <a:gd name="T75" fmla="*/ 26 h 46"/>
                  <a:gd name="T76" fmla="*/ 0 w 249"/>
                  <a:gd name="T77" fmla="*/ 26 h 46"/>
                  <a:gd name="T78" fmla="*/ 0 w 249"/>
                  <a:gd name="T79" fmla="*/ 26 h 46"/>
                  <a:gd name="T80" fmla="*/ 0 w 249"/>
                  <a:gd name="T81" fmla="*/ 24 h 46"/>
                  <a:gd name="T82" fmla="*/ 0 w 249"/>
                  <a:gd name="T83" fmla="*/ 21 h 46"/>
                  <a:gd name="T84" fmla="*/ 0 w 249"/>
                  <a:gd name="T85" fmla="*/ 15 h 46"/>
                  <a:gd name="T86" fmla="*/ 1 w 249"/>
                  <a:gd name="T87" fmla="*/ 11 h 46"/>
                  <a:gd name="T88" fmla="*/ 5 w 249"/>
                  <a:gd name="T89" fmla="*/ 7 h 46"/>
                  <a:gd name="T90" fmla="*/ 7 w 249"/>
                  <a:gd name="T91" fmla="*/ 3 h 46"/>
                  <a:gd name="T92" fmla="*/ 11 w 249"/>
                  <a:gd name="T93" fmla="*/ 1 h 46"/>
                  <a:gd name="T94" fmla="*/ 15 w 249"/>
                  <a:gd name="T95" fmla="*/ 1 h 46"/>
                  <a:gd name="T96" fmla="*/ 17 w 249"/>
                  <a:gd name="T97" fmla="*/ 1 h 46"/>
                  <a:gd name="T98" fmla="*/ 19 w 249"/>
                  <a:gd name="T99" fmla="*/ 0 h 46"/>
                  <a:gd name="T100" fmla="*/ 21 w 249"/>
                  <a:gd name="T101" fmla="*/ 0 h 46"/>
                  <a:gd name="T102" fmla="*/ 132 w 249"/>
                  <a:gd name="T103" fmla="*/ 0 h 46"/>
                  <a:gd name="T104" fmla="*/ 134 w 249"/>
                  <a:gd name="T10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9" h="46">
                    <a:moveTo>
                      <a:pt x="134" y="0"/>
                    </a:moveTo>
                    <a:lnTo>
                      <a:pt x="140" y="0"/>
                    </a:lnTo>
                    <a:lnTo>
                      <a:pt x="149" y="0"/>
                    </a:lnTo>
                    <a:lnTo>
                      <a:pt x="167" y="0"/>
                    </a:lnTo>
                    <a:lnTo>
                      <a:pt x="192" y="0"/>
                    </a:lnTo>
                    <a:lnTo>
                      <a:pt x="228" y="0"/>
                    </a:lnTo>
                    <a:lnTo>
                      <a:pt x="234" y="1"/>
                    </a:lnTo>
                    <a:lnTo>
                      <a:pt x="240" y="3"/>
                    </a:lnTo>
                    <a:lnTo>
                      <a:pt x="243" y="5"/>
                    </a:lnTo>
                    <a:lnTo>
                      <a:pt x="245" y="9"/>
                    </a:lnTo>
                    <a:lnTo>
                      <a:pt x="247" y="13"/>
                    </a:lnTo>
                    <a:lnTo>
                      <a:pt x="247" y="17"/>
                    </a:lnTo>
                    <a:lnTo>
                      <a:pt x="249" y="19"/>
                    </a:lnTo>
                    <a:lnTo>
                      <a:pt x="249" y="21"/>
                    </a:lnTo>
                    <a:lnTo>
                      <a:pt x="249" y="21"/>
                    </a:lnTo>
                    <a:lnTo>
                      <a:pt x="249" y="26"/>
                    </a:lnTo>
                    <a:lnTo>
                      <a:pt x="247" y="32"/>
                    </a:lnTo>
                    <a:lnTo>
                      <a:pt x="245" y="36"/>
                    </a:lnTo>
                    <a:lnTo>
                      <a:pt x="242" y="40"/>
                    </a:lnTo>
                    <a:lnTo>
                      <a:pt x="238" y="42"/>
                    </a:lnTo>
                    <a:lnTo>
                      <a:pt x="236" y="44"/>
                    </a:lnTo>
                    <a:lnTo>
                      <a:pt x="232" y="44"/>
                    </a:lnTo>
                    <a:lnTo>
                      <a:pt x="230" y="46"/>
                    </a:lnTo>
                    <a:lnTo>
                      <a:pt x="228" y="46"/>
                    </a:lnTo>
                    <a:lnTo>
                      <a:pt x="228" y="46"/>
                    </a:lnTo>
                    <a:lnTo>
                      <a:pt x="226" y="46"/>
                    </a:lnTo>
                    <a:lnTo>
                      <a:pt x="222" y="46"/>
                    </a:lnTo>
                    <a:lnTo>
                      <a:pt x="157" y="46"/>
                    </a:lnTo>
                    <a:lnTo>
                      <a:pt x="122" y="46"/>
                    </a:lnTo>
                    <a:lnTo>
                      <a:pt x="76" y="46"/>
                    </a:lnTo>
                    <a:lnTo>
                      <a:pt x="21" y="46"/>
                    </a:lnTo>
                    <a:lnTo>
                      <a:pt x="13" y="44"/>
                    </a:lnTo>
                    <a:lnTo>
                      <a:pt x="7" y="42"/>
                    </a:lnTo>
                    <a:lnTo>
                      <a:pt x="3" y="38"/>
                    </a:lnTo>
                    <a:lnTo>
                      <a:pt x="1" y="36"/>
                    </a:lnTo>
                    <a:lnTo>
                      <a:pt x="0" y="32"/>
                    </a:lnTo>
                    <a:lnTo>
                      <a:pt x="0" y="28"/>
                    </a:lnTo>
                    <a:lnTo>
                      <a:pt x="0" y="26"/>
                    </a:lnTo>
                    <a:lnTo>
                      <a:pt x="0" y="26"/>
                    </a:lnTo>
                    <a:lnTo>
                      <a:pt x="0" y="26"/>
                    </a:lnTo>
                    <a:lnTo>
                      <a:pt x="0" y="24"/>
                    </a:lnTo>
                    <a:lnTo>
                      <a:pt x="0" y="21"/>
                    </a:lnTo>
                    <a:lnTo>
                      <a:pt x="0" y="15"/>
                    </a:lnTo>
                    <a:lnTo>
                      <a:pt x="1" y="11"/>
                    </a:lnTo>
                    <a:lnTo>
                      <a:pt x="5" y="7"/>
                    </a:lnTo>
                    <a:lnTo>
                      <a:pt x="7" y="3"/>
                    </a:lnTo>
                    <a:lnTo>
                      <a:pt x="11" y="1"/>
                    </a:lnTo>
                    <a:lnTo>
                      <a:pt x="15" y="1"/>
                    </a:lnTo>
                    <a:lnTo>
                      <a:pt x="17" y="1"/>
                    </a:lnTo>
                    <a:lnTo>
                      <a:pt x="19" y="0"/>
                    </a:lnTo>
                    <a:lnTo>
                      <a:pt x="21" y="0"/>
                    </a:lnTo>
                    <a:lnTo>
                      <a:pt x="132" y="0"/>
                    </a:lnTo>
                    <a:lnTo>
                      <a:pt x="134" y="0"/>
                    </a:lnTo>
                    <a:close/>
                  </a:path>
                </a:pathLst>
              </a:custGeom>
              <a:solidFill>
                <a:srgbClr val="3F00E1"/>
              </a:solidFill>
              <a:ln w="0">
                <a:solidFill>
                  <a:srgbClr val="3F00E1"/>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84" name="Freeform 903"/>
              <p:cNvSpPr>
                <a:spLocks/>
              </p:cNvSpPr>
              <p:nvPr/>
            </p:nvSpPr>
            <p:spPr bwMode="auto">
              <a:xfrm>
                <a:off x="9274176" y="5334000"/>
                <a:ext cx="36513" cy="39688"/>
              </a:xfrm>
              <a:custGeom>
                <a:avLst/>
                <a:gdLst>
                  <a:gd name="T0" fmla="*/ 12 w 23"/>
                  <a:gd name="T1" fmla="*/ 0 h 25"/>
                  <a:gd name="T2" fmla="*/ 16 w 23"/>
                  <a:gd name="T3" fmla="*/ 2 h 25"/>
                  <a:gd name="T4" fmla="*/ 19 w 23"/>
                  <a:gd name="T5" fmla="*/ 4 h 25"/>
                  <a:gd name="T6" fmla="*/ 23 w 23"/>
                  <a:gd name="T7" fmla="*/ 8 h 25"/>
                  <a:gd name="T8" fmla="*/ 23 w 23"/>
                  <a:gd name="T9" fmla="*/ 14 h 25"/>
                  <a:gd name="T10" fmla="*/ 23 w 23"/>
                  <a:gd name="T11" fmla="*/ 18 h 25"/>
                  <a:gd name="T12" fmla="*/ 19 w 23"/>
                  <a:gd name="T13" fmla="*/ 21 h 25"/>
                  <a:gd name="T14" fmla="*/ 16 w 23"/>
                  <a:gd name="T15" fmla="*/ 23 h 25"/>
                  <a:gd name="T16" fmla="*/ 12 w 23"/>
                  <a:gd name="T17" fmla="*/ 25 h 25"/>
                  <a:gd name="T18" fmla="*/ 6 w 23"/>
                  <a:gd name="T19" fmla="*/ 23 h 25"/>
                  <a:gd name="T20" fmla="*/ 2 w 23"/>
                  <a:gd name="T21" fmla="*/ 21 h 25"/>
                  <a:gd name="T22" fmla="*/ 0 w 23"/>
                  <a:gd name="T23" fmla="*/ 18 h 25"/>
                  <a:gd name="T24" fmla="*/ 0 w 23"/>
                  <a:gd name="T25" fmla="*/ 14 h 25"/>
                  <a:gd name="T26" fmla="*/ 0 w 23"/>
                  <a:gd name="T27" fmla="*/ 8 h 25"/>
                  <a:gd name="T28" fmla="*/ 2 w 23"/>
                  <a:gd name="T29" fmla="*/ 4 h 25"/>
                  <a:gd name="T30" fmla="*/ 6 w 23"/>
                  <a:gd name="T31" fmla="*/ 2 h 25"/>
                  <a:gd name="T32" fmla="*/ 12 w 23"/>
                  <a:gd name="T3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12" y="0"/>
                    </a:moveTo>
                    <a:lnTo>
                      <a:pt x="16" y="2"/>
                    </a:lnTo>
                    <a:lnTo>
                      <a:pt x="19" y="4"/>
                    </a:lnTo>
                    <a:lnTo>
                      <a:pt x="23" y="8"/>
                    </a:lnTo>
                    <a:lnTo>
                      <a:pt x="23" y="14"/>
                    </a:lnTo>
                    <a:lnTo>
                      <a:pt x="23" y="18"/>
                    </a:lnTo>
                    <a:lnTo>
                      <a:pt x="19" y="21"/>
                    </a:lnTo>
                    <a:lnTo>
                      <a:pt x="16" y="23"/>
                    </a:lnTo>
                    <a:lnTo>
                      <a:pt x="12" y="25"/>
                    </a:lnTo>
                    <a:lnTo>
                      <a:pt x="6" y="23"/>
                    </a:lnTo>
                    <a:lnTo>
                      <a:pt x="2" y="21"/>
                    </a:lnTo>
                    <a:lnTo>
                      <a:pt x="0" y="18"/>
                    </a:lnTo>
                    <a:lnTo>
                      <a:pt x="0" y="14"/>
                    </a:lnTo>
                    <a:lnTo>
                      <a:pt x="0" y="8"/>
                    </a:lnTo>
                    <a:lnTo>
                      <a:pt x="2" y="4"/>
                    </a:lnTo>
                    <a:lnTo>
                      <a:pt x="6" y="2"/>
                    </a:lnTo>
                    <a:lnTo>
                      <a:pt x="1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85" name="Freeform 904"/>
              <p:cNvSpPr>
                <a:spLocks/>
              </p:cNvSpPr>
              <p:nvPr/>
            </p:nvSpPr>
            <p:spPr bwMode="auto">
              <a:xfrm>
                <a:off x="9274176" y="5459413"/>
                <a:ext cx="36513" cy="36513"/>
              </a:xfrm>
              <a:custGeom>
                <a:avLst/>
                <a:gdLst>
                  <a:gd name="T0" fmla="*/ 12 w 23"/>
                  <a:gd name="T1" fmla="*/ 0 h 23"/>
                  <a:gd name="T2" fmla="*/ 16 w 23"/>
                  <a:gd name="T3" fmla="*/ 2 h 23"/>
                  <a:gd name="T4" fmla="*/ 19 w 23"/>
                  <a:gd name="T5" fmla="*/ 4 h 23"/>
                  <a:gd name="T6" fmla="*/ 23 w 23"/>
                  <a:gd name="T7" fmla="*/ 8 h 23"/>
                  <a:gd name="T8" fmla="*/ 23 w 23"/>
                  <a:gd name="T9" fmla="*/ 11 h 23"/>
                  <a:gd name="T10" fmla="*/ 23 w 23"/>
                  <a:gd name="T11" fmla="*/ 17 h 23"/>
                  <a:gd name="T12" fmla="*/ 19 w 23"/>
                  <a:gd name="T13" fmla="*/ 21 h 23"/>
                  <a:gd name="T14" fmla="*/ 16 w 23"/>
                  <a:gd name="T15" fmla="*/ 23 h 23"/>
                  <a:gd name="T16" fmla="*/ 12 w 23"/>
                  <a:gd name="T17" fmla="*/ 23 h 23"/>
                  <a:gd name="T18" fmla="*/ 6 w 23"/>
                  <a:gd name="T19" fmla="*/ 23 h 23"/>
                  <a:gd name="T20" fmla="*/ 2 w 23"/>
                  <a:gd name="T21" fmla="*/ 21 h 23"/>
                  <a:gd name="T22" fmla="*/ 0 w 23"/>
                  <a:gd name="T23" fmla="*/ 17 h 23"/>
                  <a:gd name="T24" fmla="*/ 0 w 23"/>
                  <a:gd name="T25" fmla="*/ 11 h 23"/>
                  <a:gd name="T26" fmla="*/ 0 w 23"/>
                  <a:gd name="T27" fmla="*/ 8 h 23"/>
                  <a:gd name="T28" fmla="*/ 2 w 23"/>
                  <a:gd name="T29" fmla="*/ 4 h 23"/>
                  <a:gd name="T30" fmla="*/ 6 w 23"/>
                  <a:gd name="T31" fmla="*/ 2 h 23"/>
                  <a:gd name="T32" fmla="*/ 12 w 23"/>
                  <a:gd name="T3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12" y="0"/>
                    </a:moveTo>
                    <a:lnTo>
                      <a:pt x="16" y="2"/>
                    </a:lnTo>
                    <a:lnTo>
                      <a:pt x="19" y="4"/>
                    </a:lnTo>
                    <a:lnTo>
                      <a:pt x="23" y="8"/>
                    </a:lnTo>
                    <a:lnTo>
                      <a:pt x="23" y="11"/>
                    </a:lnTo>
                    <a:lnTo>
                      <a:pt x="23" y="17"/>
                    </a:lnTo>
                    <a:lnTo>
                      <a:pt x="19" y="21"/>
                    </a:lnTo>
                    <a:lnTo>
                      <a:pt x="16" y="23"/>
                    </a:lnTo>
                    <a:lnTo>
                      <a:pt x="12" y="23"/>
                    </a:lnTo>
                    <a:lnTo>
                      <a:pt x="6" y="23"/>
                    </a:lnTo>
                    <a:lnTo>
                      <a:pt x="2" y="21"/>
                    </a:lnTo>
                    <a:lnTo>
                      <a:pt x="0" y="17"/>
                    </a:lnTo>
                    <a:lnTo>
                      <a:pt x="0" y="11"/>
                    </a:lnTo>
                    <a:lnTo>
                      <a:pt x="0" y="8"/>
                    </a:lnTo>
                    <a:lnTo>
                      <a:pt x="2" y="4"/>
                    </a:lnTo>
                    <a:lnTo>
                      <a:pt x="6" y="2"/>
                    </a:lnTo>
                    <a:lnTo>
                      <a:pt x="1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86" name="Freeform 905"/>
              <p:cNvSpPr>
                <a:spLocks/>
              </p:cNvSpPr>
              <p:nvPr/>
            </p:nvSpPr>
            <p:spPr bwMode="auto">
              <a:xfrm>
                <a:off x="9274176" y="5581650"/>
                <a:ext cx="36513" cy="39688"/>
              </a:xfrm>
              <a:custGeom>
                <a:avLst/>
                <a:gdLst>
                  <a:gd name="T0" fmla="*/ 12 w 23"/>
                  <a:gd name="T1" fmla="*/ 0 h 25"/>
                  <a:gd name="T2" fmla="*/ 16 w 23"/>
                  <a:gd name="T3" fmla="*/ 2 h 25"/>
                  <a:gd name="T4" fmla="*/ 19 w 23"/>
                  <a:gd name="T5" fmla="*/ 4 h 25"/>
                  <a:gd name="T6" fmla="*/ 23 w 23"/>
                  <a:gd name="T7" fmla="*/ 7 h 25"/>
                  <a:gd name="T8" fmla="*/ 23 w 23"/>
                  <a:gd name="T9" fmla="*/ 13 h 25"/>
                  <a:gd name="T10" fmla="*/ 23 w 23"/>
                  <a:gd name="T11" fmla="*/ 17 h 25"/>
                  <a:gd name="T12" fmla="*/ 19 w 23"/>
                  <a:gd name="T13" fmla="*/ 21 h 25"/>
                  <a:gd name="T14" fmla="*/ 16 w 23"/>
                  <a:gd name="T15" fmla="*/ 25 h 25"/>
                  <a:gd name="T16" fmla="*/ 12 w 23"/>
                  <a:gd name="T17" fmla="*/ 25 h 25"/>
                  <a:gd name="T18" fmla="*/ 6 w 23"/>
                  <a:gd name="T19" fmla="*/ 25 h 25"/>
                  <a:gd name="T20" fmla="*/ 2 w 23"/>
                  <a:gd name="T21" fmla="*/ 21 h 25"/>
                  <a:gd name="T22" fmla="*/ 0 w 23"/>
                  <a:gd name="T23" fmla="*/ 17 h 25"/>
                  <a:gd name="T24" fmla="*/ 0 w 23"/>
                  <a:gd name="T25" fmla="*/ 13 h 25"/>
                  <a:gd name="T26" fmla="*/ 0 w 23"/>
                  <a:gd name="T27" fmla="*/ 7 h 25"/>
                  <a:gd name="T28" fmla="*/ 2 w 23"/>
                  <a:gd name="T29" fmla="*/ 4 h 25"/>
                  <a:gd name="T30" fmla="*/ 6 w 23"/>
                  <a:gd name="T31" fmla="*/ 2 h 25"/>
                  <a:gd name="T32" fmla="*/ 12 w 23"/>
                  <a:gd name="T3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12" y="0"/>
                    </a:moveTo>
                    <a:lnTo>
                      <a:pt x="16" y="2"/>
                    </a:lnTo>
                    <a:lnTo>
                      <a:pt x="19" y="4"/>
                    </a:lnTo>
                    <a:lnTo>
                      <a:pt x="23" y="7"/>
                    </a:lnTo>
                    <a:lnTo>
                      <a:pt x="23" y="13"/>
                    </a:lnTo>
                    <a:lnTo>
                      <a:pt x="23" y="17"/>
                    </a:lnTo>
                    <a:lnTo>
                      <a:pt x="19" y="21"/>
                    </a:lnTo>
                    <a:lnTo>
                      <a:pt x="16" y="25"/>
                    </a:lnTo>
                    <a:lnTo>
                      <a:pt x="12" y="25"/>
                    </a:lnTo>
                    <a:lnTo>
                      <a:pt x="6" y="25"/>
                    </a:lnTo>
                    <a:lnTo>
                      <a:pt x="2" y="21"/>
                    </a:lnTo>
                    <a:lnTo>
                      <a:pt x="0" y="17"/>
                    </a:lnTo>
                    <a:lnTo>
                      <a:pt x="0" y="13"/>
                    </a:lnTo>
                    <a:lnTo>
                      <a:pt x="0" y="7"/>
                    </a:lnTo>
                    <a:lnTo>
                      <a:pt x="2" y="4"/>
                    </a:lnTo>
                    <a:lnTo>
                      <a:pt x="6" y="2"/>
                    </a:lnTo>
                    <a:lnTo>
                      <a:pt x="1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87" name="Freeform 906"/>
              <p:cNvSpPr>
                <a:spLocks/>
              </p:cNvSpPr>
              <p:nvPr/>
            </p:nvSpPr>
            <p:spPr bwMode="auto">
              <a:xfrm>
                <a:off x="9274176" y="5705475"/>
                <a:ext cx="36513" cy="39688"/>
              </a:xfrm>
              <a:custGeom>
                <a:avLst/>
                <a:gdLst>
                  <a:gd name="T0" fmla="*/ 12 w 23"/>
                  <a:gd name="T1" fmla="*/ 0 h 25"/>
                  <a:gd name="T2" fmla="*/ 16 w 23"/>
                  <a:gd name="T3" fmla="*/ 2 h 25"/>
                  <a:gd name="T4" fmla="*/ 19 w 23"/>
                  <a:gd name="T5" fmla="*/ 4 h 25"/>
                  <a:gd name="T6" fmla="*/ 23 w 23"/>
                  <a:gd name="T7" fmla="*/ 8 h 25"/>
                  <a:gd name="T8" fmla="*/ 23 w 23"/>
                  <a:gd name="T9" fmla="*/ 14 h 25"/>
                  <a:gd name="T10" fmla="*/ 23 w 23"/>
                  <a:gd name="T11" fmla="*/ 18 h 25"/>
                  <a:gd name="T12" fmla="*/ 19 w 23"/>
                  <a:gd name="T13" fmla="*/ 21 h 25"/>
                  <a:gd name="T14" fmla="*/ 16 w 23"/>
                  <a:gd name="T15" fmla="*/ 23 h 25"/>
                  <a:gd name="T16" fmla="*/ 12 w 23"/>
                  <a:gd name="T17" fmla="*/ 25 h 25"/>
                  <a:gd name="T18" fmla="*/ 6 w 23"/>
                  <a:gd name="T19" fmla="*/ 23 h 25"/>
                  <a:gd name="T20" fmla="*/ 2 w 23"/>
                  <a:gd name="T21" fmla="*/ 21 h 25"/>
                  <a:gd name="T22" fmla="*/ 0 w 23"/>
                  <a:gd name="T23" fmla="*/ 18 h 25"/>
                  <a:gd name="T24" fmla="*/ 0 w 23"/>
                  <a:gd name="T25" fmla="*/ 14 h 25"/>
                  <a:gd name="T26" fmla="*/ 0 w 23"/>
                  <a:gd name="T27" fmla="*/ 8 h 25"/>
                  <a:gd name="T28" fmla="*/ 2 w 23"/>
                  <a:gd name="T29" fmla="*/ 4 h 25"/>
                  <a:gd name="T30" fmla="*/ 6 w 23"/>
                  <a:gd name="T31" fmla="*/ 2 h 25"/>
                  <a:gd name="T32" fmla="*/ 12 w 23"/>
                  <a:gd name="T3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12" y="0"/>
                    </a:moveTo>
                    <a:lnTo>
                      <a:pt x="16" y="2"/>
                    </a:lnTo>
                    <a:lnTo>
                      <a:pt x="19" y="4"/>
                    </a:lnTo>
                    <a:lnTo>
                      <a:pt x="23" y="8"/>
                    </a:lnTo>
                    <a:lnTo>
                      <a:pt x="23" y="14"/>
                    </a:lnTo>
                    <a:lnTo>
                      <a:pt x="23" y="18"/>
                    </a:lnTo>
                    <a:lnTo>
                      <a:pt x="19" y="21"/>
                    </a:lnTo>
                    <a:lnTo>
                      <a:pt x="16" y="23"/>
                    </a:lnTo>
                    <a:lnTo>
                      <a:pt x="12" y="25"/>
                    </a:lnTo>
                    <a:lnTo>
                      <a:pt x="6" y="23"/>
                    </a:lnTo>
                    <a:lnTo>
                      <a:pt x="2" y="21"/>
                    </a:lnTo>
                    <a:lnTo>
                      <a:pt x="0" y="18"/>
                    </a:lnTo>
                    <a:lnTo>
                      <a:pt x="0" y="14"/>
                    </a:lnTo>
                    <a:lnTo>
                      <a:pt x="0" y="8"/>
                    </a:lnTo>
                    <a:lnTo>
                      <a:pt x="2" y="4"/>
                    </a:lnTo>
                    <a:lnTo>
                      <a:pt x="6" y="2"/>
                    </a:lnTo>
                    <a:lnTo>
                      <a:pt x="1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88" name="Freeform 907"/>
              <p:cNvSpPr>
                <a:spLocks/>
              </p:cNvSpPr>
              <p:nvPr/>
            </p:nvSpPr>
            <p:spPr bwMode="auto">
              <a:xfrm>
                <a:off x="9274176" y="5830888"/>
                <a:ext cx="36513" cy="36513"/>
              </a:xfrm>
              <a:custGeom>
                <a:avLst/>
                <a:gdLst>
                  <a:gd name="T0" fmla="*/ 12 w 23"/>
                  <a:gd name="T1" fmla="*/ 0 h 23"/>
                  <a:gd name="T2" fmla="*/ 16 w 23"/>
                  <a:gd name="T3" fmla="*/ 2 h 23"/>
                  <a:gd name="T4" fmla="*/ 19 w 23"/>
                  <a:gd name="T5" fmla="*/ 4 h 23"/>
                  <a:gd name="T6" fmla="*/ 23 w 23"/>
                  <a:gd name="T7" fmla="*/ 8 h 23"/>
                  <a:gd name="T8" fmla="*/ 23 w 23"/>
                  <a:gd name="T9" fmla="*/ 12 h 23"/>
                  <a:gd name="T10" fmla="*/ 23 w 23"/>
                  <a:gd name="T11" fmla="*/ 17 h 23"/>
                  <a:gd name="T12" fmla="*/ 19 w 23"/>
                  <a:gd name="T13" fmla="*/ 21 h 23"/>
                  <a:gd name="T14" fmla="*/ 16 w 23"/>
                  <a:gd name="T15" fmla="*/ 23 h 23"/>
                  <a:gd name="T16" fmla="*/ 12 w 23"/>
                  <a:gd name="T17" fmla="*/ 23 h 23"/>
                  <a:gd name="T18" fmla="*/ 6 w 23"/>
                  <a:gd name="T19" fmla="*/ 23 h 23"/>
                  <a:gd name="T20" fmla="*/ 2 w 23"/>
                  <a:gd name="T21" fmla="*/ 21 h 23"/>
                  <a:gd name="T22" fmla="*/ 0 w 23"/>
                  <a:gd name="T23" fmla="*/ 17 h 23"/>
                  <a:gd name="T24" fmla="*/ 0 w 23"/>
                  <a:gd name="T25" fmla="*/ 12 h 23"/>
                  <a:gd name="T26" fmla="*/ 0 w 23"/>
                  <a:gd name="T27" fmla="*/ 8 h 23"/>
                  <a:gd name="T28" fmla="*/ 2 w 23"/>
                  <a:gd name="T29" fmla="*/ 4 h 23"/>
                  <a:gd name="T30" fmla="*/ 6 w 23"/>
                  <a:gd name="T31" fmla="*/ 2 h 23"/>
                  <a:gd name="T32" fmla="*/ 12 w 23"/>
                  <a:gd name="T3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12" y="0"/>
                    </a:moveTo>
                    <a:lnTo>
                      <a:pt x="16" y="2"/>
                    </a:lnTo>
                    <a:lnTo>
                      <a:pt x="19" y="4"/>
                    </a:lnTo>
                    <a:lnTo>
                      <a:pt x="23" y="8"/>
                    </a:lnTo>
                    <a:lnTo>
                      <a:pt x="23" y="12"/>
                    </a:lnTo>
                    <a:lnTo>
                      <a:pt x="23" y="17"/>
                    </a:lnTo>
                    <a:lnTo>
                      <a:pt x="19" y="21"/>
                    </a:lnTo>
                    <a:lnTo>
                      <a:pt x="16" y="23"/>
                    </a:lnTo>
                    <a:lnTo>
                      <a:pt x="12" y="23"/>
                    </a:lnTo>
                    <a:lnTo>
                      <a:pt x="6" y="23"/>
                    </a:lnTo>
                    <a:lnTo>
                      <a:pt x="2" y="21"/>
                    </a:lnTo>
                    <a:lnTo>
                      <a:pt x="0" y="17"/>
                    </a:lnTo>
                    <a:lnTo>
                      <a:pt x="0" y="12"/>
                    </a:lnTo>
                    <a:lnTo>
                      <a:pt x="0" y="8"/>
                    </a:lnTo>
                    <a:lnTo>
                      <a:pt x="2" y="4"/>
                    </a:lnTo>
                    <a:lnTo>
                      <a:pt x="6" y="2"/>
                    </a:lnTo>
                    <a:lnTo>
                      <a:pt x="1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89" name="Freeform 908"/>
              <p:cNvSpPr>
                <a:spLocks/>
              </p:cNvSpPr>
              <p:nvPr/>
            </p:nvSpPr>
            <p:spPr bwMode="auto">
              <a:xfrm>
                <a:off x="8993188" y="6076950"/>
                <a:ext cx="234950" cy="201613"/>
              </a:xfrm>
              <a:custGeom>
                <a:avLst/>
                <a:gdLst>
                  <a:gd name="T0" fmla="*/ 0 w 148"/>
                  <a:gd name="T1" fmla="*/ 0 h 127"/>
                  <a:gd name="T2" fmla="*/ 148 w 148"/>
                  <a:gd name="T3" fmla="*/ 0 h 127"/>
                  <a:gd name="T4" fmla="*/ 0 w 148"/>
                  <a:gd name="T5" fmla="*/ 127 h 127"/>
                  <a:gd name="T6" fmla="*/ 0 w 148"/>
                  <a:gd name="T7" fmla="*/ 0 h 127"/>
                </a:gdLst>
                <a:ahLst/>
                <a:cxnLst>
                  <a:cxn ang="0">
                    <a:pos x="T0" y="T1"/>
                  </a:cxn>
                  <a:cxn ang="0">
                    <a:pos x="T2" y="T3"/>
                  </a:cxn>
                  <a:cxn ang="0">
                    <a:pos x="T4" y="T5"/>
                  </a:cxn>
                  <a:cxn ang="0">
                    <a:pos x="T6" y="T7"/>
                  </a:cxn>
                </a:cxnLst>
                <a:rect l="0" t="0" r="r" b="b"/>
                <a:pathLst>
                  <a:path w="148" h="127">
                    <a:moveTo>
                      <a:pt x="0" y="0"/>
                    </a:moveTo>
                    <a:lnTo>
                      <a:pt x="148" y="0"/>
                    </a:lnTo>
                    <a:lnTo>
                      <a:pt x="0" y="127"/>
                    </a:lnTo>
                    <a:lnTo>
                      <a:pt x="0" y="0"/>
                    </a:lnTo>
                    <a:close/>
                  </a:path>
                </a:pathLst>
              </a:custGeom>
              <a:solidFill>
                <a:srgbClr val="00080C"/>
              </a:solidFill>
              <a:ln w="0">
                <a:solidFill>
                  <a:srgbClr val="00080C"/>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90" name="Freeform 909"/>
              <p:cNvSpPr>
                <a:spLocks/>
              </p:cNvSpPr>
              <p:nvPr/>
            </p:nvSpPr>
            <p:spPr bwMode="auto">
              <a:xfrm>
                <a:off x="8521701" y="5422900"/>
                <a:ext cx="496888" cy="855663"/>
              </a:xfrm>
              <a:custGeom>
                <a:avLst/>
                <a:gdLst>
                  <a:gd name="T0" fmla="*/ 17 w 313"/>
                  <a:gd name="T1" fmla="*/ 0 h 539"/>
                  <a:gd name="T2" fmla="*/ 292 w 313"/>
                  <a:gd name="T3" fmla="*/ 0 h 539"/>
                  <a:gd name="T4" fmla="*/ 297 w 313"/>
                  <a:gd name="T5" fmla="*/ 2 h 539"/>
                  <a:gd name="T6" fmla="*/ 303 w 313"/>
                  <a:gd name="T7" fmla="*/ 4 h 539"/>
                  <a:gd name="T8" fmla="*/ 309 w 313"/>
                  <a:gd name="T9" fmla="*/ 9 h 539"/>
                  <a:gd name="T10" fmla="*/ 311 w 313"/>
                  <a:gd name="T11" fmla="*/ 15 h 539"/>
                  <a:gd name="T12" fmla="*/ 313 w 313"/>
                  <a:gd name="T13" fmla="*/ 21 h 539"/>
                  <a:gd name="T14" fmla="*/ 313 w 313"/>
                  <a:gd name="T15" fmla="*/ 205 h 539"/>
                  <a:gd name="T16" fmla="*/ 313 w 313"/>
                  <a:gd name="T17" fmla="*/ 276 h 539"/>
                  <a:gd name="T18" fmla="*/ 313 w 313"/>
                  <a:gd name="T19" fmla="*/ 338 h 539"/>
                  <a:gd name="T20" fmla="*/ 313 w 313"/>
                  <a:gd name="T21" fmla="*/ 386 h 539"/>
                  <a:gd name="T22" fmla="*/ 313 w 313"/>
                  <a:gd name="T23" fmla="*/ 457 h 539"/>
                  <a:gd name="T24" fmla="*/ 313 w 313"/>
                  <a:gd name="T25" fmla="*/ 480 h 539"/>
                  <a:gd name="T26" fmla="*/ 313 w 313"/>
                  <a:gd name="T27" fmla="*/ 495 h 539"/>
                  <a:gd name="T28" fmla="*/ 313 w 313"/>
                  <a:gd name="T29" fmla="*/ 506 h 539"/>
                  <a:gd name="T30" fmla="*/ 313 w 313"/>
                  <a:gd name="T31" fmla="*/ 512 h 539"/>
                  <a:gd name="T32" fmla="*/ 313 w 313"/>
                  <a:gd name="T33" fmla="*/ 518 h 539"/>
                  <a:gd name="T34" fmla="*/ 311 w 313"/>
                  <a:gd name="T35" fmla="*/ 526 h 539"/>
                  <a:gd name="T36" fmla="*/ 309 w 313"/>
                  <a:gd name="T37" fmla="*/ 531 h 539"/>
                  <a:gd name="T38" fmla="*/ 303 w 313"/>
                  <a:gd name="T39" fmla="*/ 535 h 539"/>
                  <a:gd name="T40" fmla="*/ 297 w 313"/>
                  <a:gd name="T41" fmla="*/ 539 h 539"/>
                  <a:gd name="T42" fmla="*/ 292 w 313"/>
                  <a:gd name="T43" fmla="*/ 539 h 539"/>
                  <a:gd name="T44" fmla="*/ 167 w 313"/>
                  <a:gd name="T45" fmla="*/ 539 h 539"/>
                  <a:gd name="T46" fmla="*/ 123 w 313"/>
                  <a:gd name="T47" fmla="*/ 539 h 539"/>
                  <a:gd name="T48" fmla="*/ 88 w 313"/>
                  <a:gd name="T49" fmla="*/ 539 h 539"/>
                  <a:gd name="T50" fmla="*/ 19 w 313"/>
                  <a:gd name="T51" fmla="*/ 539 h 539"/>
                  <a:gd name="T52" fmla="*/ 19 w 313"/>
                  <a:gd name="T53" fmla="*/ 539 h 539"/>
                  <a:gd name="T54" fmla="*/ 17 w 313"/>
                  <a:gd name="T55" fmla="*/ 539 h 539"/>
                  <a:gd name="T56" fmla="*/ 13 w 313"/>
                  <a:gd name="T57" fmla="*/ 539 h 539"/>
                  <a:gd name="T58" fmla="*/ 7 w 313"/>
                  <a:gd name="T59" fmla="*/ 535 h 539"/>
                  <a:gd name="T60" fmla="*/ 4 w 313"/>
                  <a:gd name="T61" fmla="*/ 531 h 539"/>
                  <a:gd name="T62" fmla="*/ 0 w 313"/>
                  <a:gd name="T63" fmla="*/ 526 h 539"/>
                  <a:gd name="T64" fmla="*/ 0 w 313"/>
                  <a:gd name="T65" fmla="*/ 518 h 539"/>
                  <a:gd name="T66" fmla="*/ 0 w 313"/>
                  <a:gd name="T67" fmla="*/ 21 h 539"/>
                  <a:gd name="T68" fmla="*/ 0 w 313"/>
                  <a:gd name="T69" fmla="*/ 15 h 539"/>
                  <a:gd name="T70" fmla="*/ 4 w 313"/>
                  <a:gd name="T71" fmla="*/ 9 h 539"/>
                  <a:gd name="T72" fmla="*/ 7 w 313"/>
                  <a:gd name="T73" fmla="*/ 4 h 539"/>
                  <a:gd name="T74" fmla="*/ 13 w 313"/>
                  <a:gd name="T75" fmla="*/ 2 h 539"/>
                  <a:gd name="T76" fmla="*/ 17 w 313"/>
                  <a:gd name="T77" fmla="*/ 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3" h="539">
                    <a:moveTo>
                      <a:pt x="17" y="0"/>
                    </a:moveTo>
                    <a:lnTo>
                      <a:pt x="292" y="0"/>
                    </a:lnTo>
                    <a:lnTo>
                      <a:pt x="297" y="2"/>
                    </a:lnTo>
                    <a:lnTo>
                      <a:pt x="303" y="4"/>
                    </a:lnTo>
                    <a:lnTo>
                      <a:pt x="309" y="9"/>
                    </a:lnTo>
                    <a:lnTo>
                      <a:pt x="311" y="15"/>
                    </a:lnTo>
                    <a:lnTo>
                      <a:pt x="313" y="21"/>
                    </a:lnTo>
                    <a:lnTo>
                      <a:pt x="313" y="205"/>
                    </a:lnTo>
                    <a:lnTo>
                      <a:pt x="313" y="276"/>
                    </a:lnTo>
                    <a:lnTo>
                      <a:pt x="313" y="338"/>
                    </a:lnTo>
                    <a:lnTo>
                      <a:pt x="313" y="386"/>
                    </a:lnTo>
                    <a:lnTo>
                      <a:pt x="313" y="457"/>
                    </a:lnTo>
                    <a:lnTo>
                      <a:pt x="313" y="480"/>
                    </a:lnTo>
                    <a:lnTo>
                      <a:pt x="313" y="495"/>
                    </a:lnTo>
                    <a:lnTo>
                      <a:pt x="313" y="506"/>
                    </a:lnTo>
                    <a:lnTo>
                      <a:pt x="313" y="512"/>
                    </a:lnTo>
                    <a:lnTo>
                      <a:pt x="313" y="518"/>
                    </a:lnTo>
                    <a:lnTo>
                      <a:pt x="311" y="526"/>
                    </a:lnTo>
                    <a:lnTo>
                      <a:pt x="309" y="531"/>
                    </a:lnTo>
                    <a:lnTo>
                      <a:pt x="303" y="535"/>
                    </a:lnTo>
                    <a:lnTo>
                      <a:pt x="297" y="539"/>
                    </a:lnTo>
                    <a:lnTo>
                      <a:pt x="292" y="539"/>
                    </a:lnTo>
                    <a:lnTo>
                      <a:pt x="167" y="539"/>
                    </a:lnTo>
                    <a:lnTo>
                      <a:pt x="123" y="539"/>
                    </a:lnTo>
                    <a:lnTo>
                      <a:pt x="88" y="539"/>
                    </a:lnTo>
                    <a:lnTo>
                      <a:pt x="19" y="539"/>
                    </a:lnTo>
                    <a:lnTo>
                      <a:pt x="19" y="539"/>
                    </a:lnTo>
                    <a:lnTo>
                      <a:pt x="17" y="539"/>
                    </a:lnTo>
                    <a:lnTo>
                      <a:pt x="13" y="539"/>
                    </a:lnTo>
                    <a:lnTo>
                      <a:pt x="7" y="535"/>
                    </a:lnTo>
                    <a:lnTo>
                      <a:pt x="4" y="531"/>
                    </a:lnTo>
                    <a:lnTo>
                      <a:pt x="0" y="526"/>
                    </a:lnTo>
                    <a:lnTo>
                      <a:pt x="0" y="518"/>
                    </a:lnTo>
                    <a:lnTo>
                      <a:pt x="0" y="21"/>
                    </a:lnTo>
                    <a:lnTo>
                      <a:pt x="0" y="15"/>
                    </a:lnTo>
                    <a:lnTo>
                      <a:pt x="4" y="9"/>
                    </a:lnTo>
                    <a:lnTo>
                      <a:pt x="7" y="4"/>
                    </a:lnTo>
                    <a:lnTo>
                      <a:pt x="13" y="2"/>
                    </a:lnTo>
                    <a:lnTo>
                      <a:pt x="17" y="0"/>
                    </a:lnTo>
                    <a:close/>
                  </a:path>
                </a:pathLst>
              </a:custGeom>
              <a:solidFill>
                <a:srgbClr val="FF0821"/>
              </a:solidFill>
              <a:ln w="0">
                <a:solidFill>
                  <a:srgbClr val="FF0821"/>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91" name="Rectangle 910"/>
              <p:cNvSpPr>
                <a:spLocks noChangeArrowheads="1"/>
              </p:cNvSpPr>
              <p:nvPr/>
            </p:nvSpPr>
            <p:spPr bwMode="auto">
              <a:xfrm>
                <a:off x="8564563" y="5472113"/>
                <a:ext cx="404813" cy="673100"/>
              </a:xfrm>
              <a:prstGeom prst="rect">
                <a:avLst/>
              </a:prstGeom>
              <a:solidFill>
                <a:srgbClr val="C9D8D5"/>
              </a:solidFill>
              <a:ln w="0">
                <a:solidFill>
                  <a:srgbClr val="C9D8D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a:p>
            </p:txBody>
          </p:sp>
          <p:sp>
            <p:nvSpPr>
              <p:cNvPr id="92" name="Freeform 911"/>
              <p:cNvSpPr>
                <a:spLocks/>
              </p:cNvSpPr>
              <p:nvPr/>
            </p:nvSpPr>
            <p:spPr bwMode="auto">
              <a:xfrm>
                <a:off x="7945438" y="5883275"/>
                <a:ext cx="1057275" cy="690563"/>
              </a:xfrm>
              <a:custGeom>
                <a:avLst/>
                <a:gdLst>
                  <a:gd name="T0" fmla="*/ 290 w 666"/>
                  <a:gd name="T1" fmla="*/ 0 h 435"/>
                  <a:gd name="T2" fmla="*/ 336 w 666"/>
                  <a:gd name="T3" fmla="*/ 5 h 435"/>
                  <a:gd name="T4" fmla="*/ 376 w 666"/>
                  <a:gd name="T5" fmla="*/ 21 h 435"/>
                  <a:gd name="T6" fmla="*/ 413 w 666"/>
                  <a:gd name="T7" fmla="*/ 48 h 435"/>
                  <a:gd name="T8" fmla="*/ 441 w 666"/>
                  <a:gd name="T9" fmla="*/ 80 h 435"/>
                  <a:gd name="T10" fmla="*/ 466 w 666"/>
                  <a:gd name="T11" fmla="*/ 71 h 435"/>
                  <a:gd name="T12" fmla="*/ 491 w 666"/>
                  <a:gd name="T13" fmla="*/ 67 h 435"/>
                  <a:gd name="T14" fmla="*/ 522 w 666"/>
                  <a:gd name="T15" fmla="*/ 73 h 435"/>
                  <a:gd name="T16" fmla="*/ 551 w 666"/>
                  <a:gd name="T17" fmla="*/ 84 h 435"/>
                  <a:gd name="T18" fmla="*/ 570 w 666"/>
                  <a:gd name="T19" fmla="*/ 101 h 435"/>
                  <a:gd name="T20" fmla="*/ 586 w 666"/>
                  <a:gd name="T21" fmla="*/ 121 h 435"/>
                  <a:gd name="T22" fmla="*/ 595 w 666"/>
                  <a:gd name="T23" fmla="*/ 144 h 435"/>
                  <a:gd name="T24" fmla="*/ 599 w 666"/>
                  <a:gd name="T25" fmla="*/ 170 h 435"/>
                  <a:gd name="T26" fmla="*/ 626 w 666"/>
                  <a:gd name="T27" fmla="*/ 193 h 435"/>
                  <a:gd name="T28" fmla="*/ 647 w 666"/>
                  <a:gd name="T29" fmla="*/ 222 h 435"/>
                  <a:gd name="T30" fmla="*/ 660 w 666"/>
                  <a:gd name="T31" fmla="*/ 255 h 435"/>
                  <a:gd name="T32" fmla="*/ 666 w 666"/>
                  <a:gd name="T33" fmla="*/ 291 h 435"/>
                  <a:gd name="T34" fmla="*/ 660 w 666"/>
                  <a:gd name="T35" fmla="*/ 328 h 435"/>
                  <a:gd name="T36" fmla="*/ 647 w 666"/>
                  <a:gd name="T37" fmla="*/ 360 h 435"/>
                  <a:gd name="T38" fmla="*/ 628 w 666"/>
                  <a:gd name="T39" fmla="*/ 387 h 435"/>
                  <a:gd name="T40" fmla="*/ 601 w 666"/>
                  <a:gd name="T41" fmla="*/ 410 h 435"/>
                  <a:gd name="T42" fmla="*/ 570 w 666"/>
                  <a:gd name="T43" fmla="*/ 428 h 435"/>
                  <a:gd name="T44" fmla="*/ 536 w 666"/>
                  <a:gd name="T45" fmla="*/ 435 h 435"/>
                  <a:gd name="T46" fmla="*/ 465 w 666"/>
                  <a:gd name="T47" fmla="*/ 435 h 435"/>
                  <a:gd name="T48" fmla="*/ 415 w 666"/>
                  <a:gd name="T49" fmla="*/ 435 h 435"/>
                  <a:gd name="T50" fmla="*/ 359 w 666"/>
                  <a:gd name="T51" fmla="*/ 435 h 435"/>
                  <a:gd name="T52" fmla="*/ 123 w 666"/>
                  <a:gd name="T53" fmla="*/ 435 h 435"/>
                  <a:gd name="T54" fmla="*/ 90 w 666"/>
                  <a:gd name="T55" fmla="*/ 429 h 435"/>
                  <a:gd name="T56" fmla="*/ 61 w 666"/>
                  <a:gd name="T57" fmla="*/ 418 h 435"/>
                  <a:gd name="T58" fmla="*/ 36 w 666"/>
                  <a:gd name="T59" fmla="*/ 399 h 435"/>
                  <a:gd name="T60" fmla="*/ 17 w 666"/>
                  <a:gd name="T61" fmla="*/ 374 h 435"/>
                  <a:gd name="T62" fmla="*/ 4 w 666"/>
                  <a:gd name="T63" fmla="*/ 343 h 435"/>
                  <a:gd name="T64" fmla="*/ 0 w 666"/>
                  <a:gd name="T65" fmla="*/ 310 h 435"/>
                  <a:gd name="T66" fmla="*/ 6 w 666"/>
                  <a:gd name="T67" fmla="*/ 276 h 435"/>
                  <a:gd name="T68" fmla="*/ 21 w 666"/>
                  <a:gd name="T69" fmla="*/ 245 h 435"/>
                  <a:gd name="T70" fmla="*/ 44 w 666"/>
                  <a:gd name="T71" fmla="*/ 218 h 435"/>
                  <a:gd name="T72" fmla="*/ 73 w 666"/>
                  <a:gd name="T73" fmla="*/ 201 h 435"/>
                  <a:gd name="T74" fmla="*/ 107 w 666"/>
                  <a:gd name="T75" fmla="*/ 190 h 435"/>
                  <a:gd name="T76" fmla="*/ 107 w 666"/>
                  <a:gd name="T77" fmla="*/ 182 h 435"/>
                  <a:gd name="T78" fmla="*/ 111 w 666"/>
                  <a:gd name="T79" fmla="*/ 140 h 435"/>
                  <a:gd name="T80" fmla="*/ 125 w 666"/>
                  <a:gd name="T81" fmla="*/ 101 h 435"/>
                  <a:gd name="T82" fmla="*/ 148 w 666"/>
                  <a:gd name="T83" fmla="*/ 67 h 435"/>
                  <a:gd name="T84" fmla="*/ 175 w 666"/>
                  <a:gd name="T85" fmla="*/ 40 h 435"/>
                  <a:gd name="T86" fmla="*/ 209 w 666"/>
                  <a:gd name="T87" fmla="*/ 19 h 435"/>
                  <a:gd name="T88" fmla="*/ 248 w 666"/>
                  <a:gd name="T89" fmla="*/ 3 h 435"/>
                  <a:gd name="T90" fmla="*/ 290 w 666"/>
                  <a:gd name="T91"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66" h="435">
                    <a:moveTo>
                      <a:pt x="290" y="0"/>
                    </a:moveTo>
                    <a:lnTo>
                      <a:pt x="336" y="5"/>
                    </a:lnTo>
                    <a:lnTo>
                      <a:pt x="376" y="21"/>
                    </a:lnTo>
                    <a:lnTo>
                      <a:pt x="413" y="48"/>
                    </a:lnTo>
                    <a:lnTo>
                      <a:pt x="441" y="80"/>
                    </a:lnTo>
                    <a:lnTo>
                      <a:pt x="466" y="71"/>
                    </a:lnTo>
                    <a:lnTo>
                      <a:pt x="491" y="67"/>
                    </a:lnTo>
                    <a:lnTo>
                      <a:pt x="522" y="73"/>
                    </a:lnTo>
                    <a:lnTo>
                      <a:pt x="551" y="84"/>
                    </a:lnTo>
                    <a:lnTo>
                      <a:pt x="570" y="101"/>
                    </a:lnTo>
                    <a:lnTo>
                      <a:pt x="586" y="121"/>
                    </a:lnTo>
                    <a:lnTo>
                      <a:pt x="595" y="144"/>
                    </a:lnTo>
                    <a:lnTo>
                      <a:pt x="599" y="170"/>
                    </a:lnTo>
                    <a:lnTo>
                      <a:pt x="626" y="193"/>
                    </a:lnTo>
                    <a:lnTo>
                      <a:pt x="647" y="222"/>
                    </a:lnTo>
                    <a:lnTo>
                      <a:pt x="660" y="255"/>
                    </a:lnTo>
                    <a:lnTo>
                      <a:pt x="666" y="291"/>
                    </a:lnTo>
                    <a:lnTo>
                      <a:pt x="660" y="328"/>
                    </a:lnTo>
                    <a:lnTo>
                      <a:pt x="647" y="360"/>
                    </a:lnTo>
                    <a:lnTo>
                      <a:pt x="628" y="387"/>
                    </a:lnTo>
                    <a:lnTo>
                      <a:pt x="601" y="410"/>
                    </a:lnTo>
                    <a:lnTo>
                      <a:pt x="570" y="428"/>
                    </a:lnTo>
                    <a:lnTo>
                      <a:pt x="536" y="435"/>
                    </a:lnTo>
                    <a:lnTo>
                      <a:pt x="465" y="435"/>
                    </a:lnTo>
                    <a:lnTo>
                      <a:pt x="415" y="435"/>
                    </a:lnTo>
                    <a:lnTo>
                      <a:pt x="359" y="435"/>
                    </a:lnTo>
                    <a:lnTo>
                      <a:pt x="123" y="435"/>
                    </a:lnTo>
                    <a:lnTo>
                      <a:pt x="90" y="429"/>
                    </a:lnTo>
                    <a:lnTo>
                      <a:pt x="61" y="418"/>
                    </a:lnTo>
                    <a:lnTo>
                      <a:pt x="36" y="399"/>
                    </a:lnTo>
                    <a:lnTo>
                      <a:pt x="17" y="374"/>
                    </a:lnTo>
                    <a:lnTo>
                      <a:pt x="4" y="343"/>
                    </a:lnTo>
                    <a:lnTo>
                      <a:pt x="0" y="310"/>
                    </a:lnTo>
                    <a:lnTo>
                      <a:pt x="6" y="276"/>
                    </a:lnTo>
                    <a:lnTo>
                      <a:pt x="21" y="245"/>
                    </a:lnTo>
                    <a:lnTo>
                      <a:pt x="44" y="218"/>
                    </a:lnTo>
                    <a:lnTo>
                      <a:pt x="73" y="201"/>
                    </a:lnTo>
                    <a:lnTo>
                      <a:pt x="107" y="190"/>
                    </a:lnTo>
                    <a:lnTo>
                      <a:pt x="107" y="182"/>
                    </a:lnTo>
                    <a:lnTo>
                      <a:pt x="111" y="140"/>
                    </a:lnTo>
                    <a:lnTo>
                      <a:pt x="125" y="101"/>
                    </a:lnTo>
                    <a:lnTo>
                      <a:pt x="148" y="67"/>
                    </a:lnTo>
                    <a:lnTo>
                      <a:pt x="175" y="40"/>
                    </a:lnTo>
                    <a:lnTo>
                      <a:pt x="209" y="19"/>
                    </a:lnTo>
                    <a:lnTo>
                      <a:pt x="248" y="3"/>
                    </a:lnTo>
                    <a:lnTo>
                      <a:pt x="290" y="0"/>
                    </a:lnTo>
                    <a:close/>
                  </a:path>
                </a:pathLst>
              </a:custGeom>
              <a:solidFill>
                <a:srgbClr val="2780FF"/>
              </a:solidFill>
              <a:ln w="0">
                <a:solidFill>
                  <a:srgbClr val="2780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93" name="Freeform 912"/>
              <p:cNvSpPr>
                <a:spLocks/>
              </p:cNvSpPr>
              <p:nvPr/>
            </p:nvSpPr>
            <p:spPr bwMode="auto">
              <a:xfrm>
                <a:off x="8051801" y="5761038"/>
                <a:ext cx="439738" cy="285750"/>
              </a:xfrm>
              <a:custGeom>
                <a:avLst/>
                <a:gdLst>
                  <a:gd name="T0" fmla="*/ 121 w 277"/>
                  <a:gd name="T1" fmla="*/ 0 h 180"/>
                  <a:gd name="T2" fmla="*/ 146 w 277"/>
                  <a:gd name="T3" fmla="*/ 4 h 180"/>
                  <a:gd name="T4" fmla="*/ 167 w 277"/>
                  <a:gd name="T5" fmla="*/ 15 h 180"/>
                  <a:gd name="T6" fmla="*/ 184 w 277"/>
                  <a:gd name="T7" fmla="*/ 33 h 180"/>
                  <a:gd name="T8" fmla="*/ 190 w 277"/>
                  <a:gd name="T9" fmla="*/ 29 h 180"/>
                  <a:gd name="T10" fmla="*/ 198 w 277"/>
                  <a:gd name="T11" fmla="*/ 27 h 180"/>
                  <a:gd name="T12" fmla="*/ 205 w 277"/>
                  <a:gd name="T13" fmla="*/ 25 h 180"/>
                  <a:gd name="T14" fmla="*/ 215 w 277"/>
                  <a:gd name="T15" fmla="*/ 27 h 180"/>
                  <a:gd name="T16" fmla="*/ 223 w 277"/>
                  <a:gd name="T17" fmla="*/ 31 h 180"/>
                  <a:gd name="T18" fmla="*/ 230 w 277"/>
                  <a:gd name="T19" fmla="*/ 34 h 180"/>
                  <a:gd name="T20" fmla="*/ 240 w 277"/>
                  <a:gd name="T21" fmla="*/ 44 h 180"/>
                  <a:gd name="T22" fmla="*/ 248 w 277"/>
                  <a:gd name="T23" fmla="*/ 56 h 180"/>
                  <a:gd name="T24" fmla="*/ 250 w 277"/>
                  <a:gd name="T25" fmla="*/ 71 h 180"/>
                  <a:gd name="T26" fmla="*/ 265 w 277"/>
                  <a:gd name="T27" fmla="*/ 82 h 180"/>
                  <a:gd name="T28" fmla="*/ 275 w 277"/>
                  <a:gd name="T29" fmla="*/ 100 h 180"/>
                  <a:gd name="T30" fmla="*/ 277 w 277"/>
                  <a:gd name="T31" fmla="*/ 119 h 180"/>
                  <a:gd name="T32" fmla="*/ 273 w 277"/>
                  <a:gd name="T33" fmla="*/ 142 h 180"/>
                  <a:gd name="T34" fmla="*/ 261 w 277"/>
                  <a:gd name="T35" fmla="*/ 159 h 180"/>
                  <a:gd name="T36" fmla="*/ 244 w 277"/>
                  <a:gd name="T37" fmla="*/ 173 h 180"/>
                  <a:gd name="T38" fmla="*/ 225 w 277"/>
                  <a:gd name="T39" fmla="*/ 180 h 180"/>
                  <a:gd name="T40" fmla="*/ 54 w 277"/>
                  <a:gd name="T41" fmla="*/ 180 h 180"/>
                  <a:gd name="T42" fmla="*/ 52 w 277"/>
                  <a:gd name="T43" fmla="*/ 180 h 180"/>
                  <a:gd name="T44" fmla="*/ 52 w 277"/>
                  <a:gd name="T45" fmla="*/ 180 h 180"/>
                  <a:gd name="T46" fmla="*/ 33 w 277"/>
                  <a:gd name="T47" fmla="*/ 176 h 180"/>
                  <a:gd name="T48" fmla="*/ 15 w 277"/>
                  <a:gd name="T49" fmla="*/ 165 h 180"/>
                  <a:gd name="T50" fmla="*/ 4 w 277"/>
                  <a:gd name="T51" fmla="*/ 148 h 180"/>
                  <a:gd name="T52" fmla="*/ 0 w 277"/>
                  <a:gd name="T53" fmla="*/ 128 h 180"/>
                  <a:gd name="T54" fmla="*/ 4 w 277"/>
                  <a:gd name="T55" fmla="*/ 109 h 180"/>
                  <a:gd name="T56" fmla="*/ 13 w 277"/>
                  <a:gd name="T57" fmla="*/ 94 h 180"/>
                  <a:gd name="T58" fmla="*/ 27 w 277"/>
                  <a:gd name="T59" fmla="*/ 82 h 180"/>
                  <a:gd name="T60" fmla="*/ 46 w 277"/>
                  <a:gd name="T61" fmla="*/ 77 h 180"/>
                  <a:gd name="T62" fmla="*/ 46 w 277"/>
                  <a:gd name="T63" fmla="*/ 75 h 180"/>
                  <a:gd name="T64" fmla="*/ 50 w 277"/>
                  <a:gd name="T65" fmla="*/ 50 h 180"/>
                  <a:gd name="T66" fmla="*/ 60 w 277"/>
                  <a:gd name="T67" fmla="*/ 31 h 180"/>
                  <a:gd name="T68" fmla="*/ 77 w 277"/>
                  <a:gd name="T69" fmla="*/ 13 h 180"/>
                  <a:gd name="T70" fmla="*/ 98 w 277"/>
                  <a:gd name="T71" fmla="*/ 4 h 180"/>
                  <a:gd name="T72" fmla="*/ 121 w 277"/>
                  <a:gd name="T73"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180">
                    <a:moveTo>
                      <a:pt x="121" y="0"/>
                    </a:moveTo>
                    <a:lnTo>
                      <a:pt x="146" y="4"/>
                    </a:lnTo>
                    <a:lnTo>
                      <a:pt x="167" y="15"/>
                    </a:lnTo>
                    <a:lnTo>
                      <a:pt x="184" y="33"/>
                    </a:lnTo>
                    <a:lnTo>
                      <a:pt x="190" y="29"/>
                    </a:lnTo>
                    <a:lnTo>
                      <a:pt x="198" y="27"/>
                    </a:lnTo>
                    <a:lnTo>
                      <a:pt x="205" y="25"/>
                    </a:lnTo>
                    <a:lnTo>
                      <a:pt x="215" y="27"/>
                    </a:lnTo>
                    <a:lnTo>
                      <a:pt x="223" y="31"/>
                    </a:lnTo>
                    <a:lnTo>
                      <a:pt x="230" y="34"/>
                    </a:lnTo>
                    <a:lnTo>
                      <a:pt x="240" y="44"/>
                    </a:lnTo>
                    <a:lnTo>
                      <a:pt x="248" y="56"/>
                    </a:lnTo>
                    <a:lnTo>
                      <a:pt x="250" y="71"/>
                    </a:lnTo>
                    <a:lnTo>
                      <a:pt x="265" y="82"/>
                    </a:lnTo>
                    <a:lnTo>
                      <a:pt x="275" y="100"/>
                    </a:lnTo>
                    <a:lnTo>
                      <a:pt x="277" y="119"/>
                    </a:lnTo>
                    <a:lnTo>
                      <a:pt x="273" y="142"/>
                    </a:lnTo>
                    <a:lnTo>
                      <a:pt x="261" y="159"/>
                    </a:lnTo>
                    <a:lnTo>
                      <a:pt x="244" y="173"/>
                    </a:lnTo>
                    <a:lnTo>
                      <a:pt x="225" y="180"/>
                    </a:lnTo>
                    <a:lnTo>
                      <a:pt x="54" y="180"/>
                    </a:lnTo>
                    <a:lnTo>
                      <a:pt x="52" y="180"/>
                    </a:lnTo>
                    <a:lnTo>
                      <a:pt x="52" y="180"/>
                    </a:lnTo>
                    <a:lnTo>
                      <a:pt x="33" y="176"/>
                    </a:lnTo>
                    <a:lnTo>
                      <a:pt x="15" y="165"/>
                    </a:lnTo>
                    <a:lnTo>
                      <a:pt x="4" y="148"/>
                    </a:lnTo>
                    <a:lnTo>
                      <a:pt x="0" y="128"/>
                    </a:lnTo>
                    <a:lnTo>
                      <a:pt x="4" y="109"/>
                    </a:lnTo>
                    <a:lnTo>
                      <a:pt x="13" y="94"/>
                    </a:lnTo>
                    <a:lnTo>
                      <a:pt x="27" y="82"/>
                    </a:lnTo>
                    <a:lnTo>
                      <a:pt x="46" y="77"/>
                    </a:lnTo>
                    <a:lnTo>
                      <a:pt x="46" y="75"/>
                    </a:lnTo>
                    <a:lnTo>
                      <a:pt x="50" y="50"/>
                    </a:lnTo>
                    <a:lnTo>
                      <a:pt x="60" y="31"/>
                    </a:lnTo>
                    <a:lnTo>
                      <a:pt x="77" y="13"/>
                    </a:lnTo>
                    <a:lnTo>
                      <a:pt x="98" y="4"/>
                    </a:lnTo>
                    <a:lnTo>
                      <a:pt x="121" y="0"/>
                    </a:lnTo>
                    <a:close/>
                  </a:path>
                </a:pathLst>
              </a:custGeom>
              <a:solidFill>
                <a:srgbClr val="4FFEFF"/>
              </a:solidFill>
              <a:ln w="0">
                <a:solidFill>
                  <a:srgbClr val="4FFE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94" name="Freeform 913"/>
              <p:cNvSpPr>
                <a:spLocks noEditPoints="1"/>
              </p:cNvSpPr>
              <p:nvPr/>
            </p:nvSpPr>
            <p:spPr bwMode="auto">
              <a:xfrm>
                <a:off x="7532688" y="6281738"/>
                <a:ext cx="960438" cy="663575"/>
              </a:xfrm>
              <a:custGeom>
                <a:avLst/>
                <a:gdLst>
                  <a:gd name="T0" fmla="*/ 567 w 605"/>
                  <a:gd name="T1" fmla="*/ 263 h 418"/>
                  <a:gd name="T2" fmla="*/ 605 w 605"/>
                  <a:gd name="T3" fmla="*/ 263 h 418"/>
                  <a:gd name="T4" fmla="*/ 605 w 605"/>
                  <a:gd name="T5" fmla="*/ 418 h 418"/>
                  <a:gd name="T6" fmla="*/ 567 w 605"/>
                  <a:gd name="T7" fmla="*/ 418 h 418"/>
                  <a:gd name="T8" fmla="*/ 567 w 605"/>
                  <a:gd name="T9" fmla="*/ 263 h 418"/>
                  <a:gd name="T10" fmla="*/ 536 w 605"/>
                  <a:gd name="T11" fmla="*/ 263 h 418"/>
                  <a:gd name="T12" fmla="*/ 556 w 605"/>
                  <a:gd name="T13" fmla="*/ 263 h 418"/>
                  <a:gd name="T14" fmla="*/ 556 w 605"/>
                  <a:gd name="T15" fmla="*/ 418 h 418"/>
                  <a:gd name="T16" fmla="*/ 536 w 605"/>
                  <a:gd name="T17" fmla="*/ 418 h 418"/>
                  <a:gd name="T18" fmla="*/ 536 w 605"/>
                  <a:gd name="T19" fmla="*/ 263 h 418"/>
                  <a:gd name="T20" fmla="*/ 456 w 605"/>
                  <a:gd name="T21" fmla="*/ 263 h 418"/>
                  <a:gd name="T22" fmla="*/ 475 w 605"/>
                  <a:gd name="T23" fmla="*/ 263 h 418"/>
                  <a:gd name="T24" fmla="*/ 475 w 605"/>
                  <a:gd name="T25" fmla="*/ 418 h 418"/>
                  <a:gd name="T26" fmla="*/ 456 w 605"/>
                  <a:gd name="T27" fmla="*/ 418 h 418"/>
                  <a:gd name="T28" fmla="*/ 456 w 605"/>
                  <a:gd name="T29" fmla="*/ 263 h 418"/>
                  <a:gd name="T30" fmla="*/ 394 w 605"/>
                  <a:gd name="T31" fmla="*/ 263 h 418"/>
                  <a:gd name="T32" fmla="*/ 413 w 605"/>
                  <a:gd name="T33" fmla="*/ 263 h 418"/>
                  <a:gd name="T34" fmla="*/ 413 w 605"/>
                  <a:gd name="T35" fmla="*/ 418 h 418"/>
                  <a:gd name="T36" fmla="*/ 394 w 605"/>
                  <a:gd name="T37" fmla="*/ 418 h 418"/>
                  <a:gd name="T38" fmla="*/ 394 w 605"/>
                  <a:gd name="T39" fmla="*/ 263 h 418"/>
                  <a:gd name="T40" fmla="*/ 339 w 605"/>
                  <a:gd name="T41" fmla="*/ 263 h 418"/>
                  <a:gd name="T42" fmla="*/ 383 w 605"/>
                  <a:gd name="T43" fmla="*/ 263 h 418"/>
                  <a:gd name="T44" fmla="*/ 383 w 605"/>
                  <a:gd name="T45" fmla="*/ 418 h 418"/>
                  <a:gd name="T46" fmla="*/ 339 w 605"/>
                  <a:gd name="T47" fmla="*/ 418 h 418"/>
                  <a:gd name="T48" fmla="*/ 339 w 605"/>
                  <a:gd name="T49" fmla="*/ 263 h 418"/>
                  <a:gd name="T50" fmla="*/ 314 w 605"/>
                  <a:gd name="T51" fmla="*/ 263 h 418"/>
                  <a:gd name="T52" fmla="*/ 333 w 605"/>
                  <a:gd name="T53" fmla="*/ 263 h 418"/>
                  <a:gd name="T54" fmla="*/ 333 w 605"/>
                  <a:gd name="T55" fmla="*/ 418 h 418"/>
                  <a:gd name="T56" fmla="*/ 314 w 605"/>
                  <a:gd name="T57" fmla="*/ 418 h 418"/>
                  <a:gd name="T58" fmla="*/ 314 w 605"/>
                  <a:gd name="T59" fmla="*/ 263 h 418"/>
                  <a:gd name="T60" fmla="*/ 0 w 605"/>
                  <a:gd name="T61" fmla="*/ 0 h 418"/>
                  <a:gd name="T62" fmla="*/ 604 w 605"/>
                  <a:gd name="T63" fmla="*/ 0 h 418"/>
                  <a:gd name="T64" fmla="*/ 605 w 605"/>
                  <a:gd name="T65" fmla="*/ 75 h 418"/>
                  <a:gd name="T66" fmla="*/ 542 w 605"/>
                  <a:gd name="T67" fmla="*/ 207 h 418"/>
                  <a:gd name="T68" fmla="*/ 289 w 605"/>
                  <a:gd name="T69" fmla="*/ 207 h 418"/>
                  <a:gd name="T70" fmla="*/ 252 w 605"/>
                  <a:gd name="T71" fmla="*/ 276 h 418"/>
                  <a:gd name="T72" fmla="*/ 225 w 605"/>
                  <a:gd name="T73" fmla="*/ 267 h 418"/>
                  <a:gd name="T74" fmla="*/ 168 w 605"/>
                  <a:gd name="T75" fmla="*/ 414 h 418"/>
                  <a:gd name="T76" fmla="*/ 75 w 605"/>
                  <a:gd name="T77" fmla="*/ 418 h 418"/>
                  <a:gd name="T78" fmla="*/ 125 w 605"/>
                  <a:gd name="T79" fmla="*/ 211 h 418"/>
                  <a:gd name="T80" fmla="*/ 0 w 605"/>
                  <a:gd name="T81" fmla="*/ 211 h 418"/>
                  <a:gd name="T82" fmla="*/ 0 w 605"/>
                  <a:gd name="T83" fmla="*/ 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05" h="418">
                    <a:moveTo>
                      <a:pt x="567" y="263"/>
                    </a:moveTo>
                    <a:lnTo>
                      <a:pt x="605" y="263"/>
                    </a:lnTo>
                    <a:lnTo>
                      <a:pt x="605" y="418"/>
                    </a:lnTo>
                    <a:lnTo>
                      <a:pt x="567" y="418"/>
                    </a:lnTo>
                    <a:lnTo>
                      <a:pt x="567" y="263"/>
                    </a:lnTo>
                    <a:close/>
                    <a:moveTo>
                      <a:pt x="536" y="263"/>
                    </a:moveTo>
                    <a:lnTo>
                      <a:pt x="556" y="263"/>
                    </a:lnTo>
                    <a:lnTo>
                      <a:pt x="556" y="418"/>
                    </a:lnTo>
                    <a:lnTo>
                      <a:pt x="536" y="418"/>
                    </a:lnTo>
                    <a:lnTo>
                      <a:pt x="536" y="263"/>
                    </a:lnTo>
                    <a:close/>
                    <a:moveTo>
                      <a:pt x="456" y="263"/>
                    </a:moveTo>
                    <a:lnTo>
                      <a:pt x="475" y="263"/>
                    </a:lnTo>
                    <a:lnTo>
                      <a:pt x="475" y="418"/>
                    </a:lnTo>
                    <a:lnTo>
                      <a:pt x="456" y="418"/>
                    </a:lnTo>
                    <a:lnTo>
                      <a:pt x="456" y="263"/>
                    </a:lnTo>
                    <a:close/>
                    <a:moveTo>
                      <a:pt x="394" y="263"/>
                    </a:moveTo>
                    <a:lnTo>
                      <a:pt x="413" y="263"/>
                    </a:lnTo>
                    <a:lnTo>
                      <a:pt x="413" y="418"/>
                    </a:lnTo>
                    <a:lnTo>
                      <a:pt x="394" y="418"/>
                    </a:lnTo>
                    <a:lnTo>
                      <a:pt x="394" y="263"/>
                    </a:lnTo>
                    <a:close/>
                    <a:moveTo>
                      <a:pt x="339" y="263"/>
                    </a:moveTo>
                    <a:lnTo>
                      <a:pt x="383" y="263"/>
                    </a:lnTo>
                    <a:lnTo>
                      <a:pt x="383" y="418"/>
                    </a:lnTo>
                    <a:lnTo>
                      <a:pt x="339" y="418"/>
                    </a:lnTo>
                    <a:lnTo>
                      <a:pt x="339" y="263"/>
                    </a:lnTo>
                    <a:close/>
                    <a:moveTo>
                      <a:pt x="314" y="263"/>
                    </a:moveTo>
                    <a:lnTo>
                      <a:pt x="333" y="263"/>
                    </a:lnTo>
                    <a:lnTo>
                      <a:pt x="333" y="418"/>
                    </a:lnTo>
                    <a:lnTo>
                      <a:pt x="314" y="418"/>
                    </a:lnTo>
                    <a:lnTo>
                      <a:pt x="314" y="263"/>
                    </a:lnTo>
                    <a:close/>
                    <a:moveTo>
                      <a:pt x="0" y="0"/>
                    </a:moveTo>
                    <a:lnTo>
                      <a:pt x="604" y="0"/>
                    </a:lnTo>
                    <a:lnTo>
                      <a:pt x="605" y="75"/>
                    </a:lnTo>
                    <a:lnTo>
                      <a:pt x="542" y="207"/>
                    </a:lnTo>
                    <a:lnTo>
                      <a:pt x="289" y="207"/>
                    </a:lnTo>
                    <a:lnTo>
                      <a:pt x="252" y="276"/>
                    </a:lnTo>
                    <a:lnTo>
                      <a:pt x="225" y="267"/>
                    </a:lnTo>
                    <a:lnTo>
                      <a:pt x="168" y="414"/>
                    </a:lnTo>
                    <a:lnTo>
                      <a:pt x="75" y="418"/>
                    </a:lnTo>
                    <a:lnTo>
                      <a:pt x="125" y="211"/>
                    </a:lnTo>
                    <a:lnTo>
                      <a:pt x="0" y="211"/>
                    </a:lnTo>
                    <a:lnTo>
                      <a:pt x="0" y="0"/>
                    </a:lnTo>
                    <a:close/>
                  </a:path>
                </a:pathLst>
              </a:custGeom>
              <a:solidFill>
                <a:srgbClr val="FFB912"/>
              </a:solidFill>
              <a:ln w="0">
                <a:solidFill>
                  <a:srgbClr val="FFB912"/>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95" name="Freeform 914"/>
              <p:cNvSpPr>
                <a:spLocks/>
              </p:cNvSpPr>
              <p:nvPr/>
            </p:nvSpPr>
            <p:spPr bwMode="auto">
              <a:xfrm>
                <a:off x="7651751" y="6607175"/>
                <a:ext cx="341313" cy="338138"/>
              </a:xfrm>
              <a:custGeom>
                <a:avLst/>
                <a:gdLst>
                  <a:gd name="T0" fmla="*/ 46 w 215"/>
                  <a:gd name="T1" fmla="*/ 0 h 213"/>
                  <a:gd name="T2" fmla="*/ 215 w 215"/>
                  <a:gd name="T3" fmla="*/ 0 h 213"/>
                  <a:gd name="T4" fmla="*/ 177 w 215"/>
                  <a:gd name="T5" fmla="*/ 71 h 213"/>
                  <a:gd name="T6" fmla="*/ 150 w 215"/>
                  <a:gd name="T7" fmla="*/ 62 h 213"/>
                  <a:gd name="T8" fmla="*/ 94 w 215"/>
                  <a:gd name="T9" fmla="*/ 211 h 213"/>
                  <a:gd name="T10" fmla="*/ 0 w 215"/>
                  <a:gd name="T11" fmla="*/ 213 h 213"/>
                  <a:gd name="T12" fmla="*/ 46 w 215"/>
                  <a:gd name="T13" fmla="*/ 0 h 213"/>
                </a:gdLst>
                <a:ahLst/>
                <a:cxnLst>
                  <a:cxn ang="0">
                    <a:pos x="T0" y="T1"/>
                  </a:cxn>
                  <a:cxn ang="0">
                    <a:pos x="T2" y="T3"/>
                  </a:cxn>
                  <a:cxn ang="0">
                    <a:pos x="T4" y="T5"/>
                  </a:cxn>
                  <a:cxn ang="0">
                    <a:pos x="T6" y="T7"/>
                  </a:cxn>
                  <a:cxn ang="0">
                    <a:pos x="T8" y="T9"/>
                  </a:cxn>
                  <a:cxn ang="0">
                    <a:pos x="T10" y="T11"/>
                  </a:cxn>
                  <a:cxn ang="0">
                    <a:pos x="T12" y="T13"/>
                  </a:cxn>
                </a:cxnLst>
                <a:rect l="0" t="0" r="r" b="b"/>
                <a:pathLst>
                  <a:path w="215" h="213">
                    <a:moveTo>
                      <a:pt x="46" y="0"/>
                    </a:moveTo>
                    <a:lnTo>
                      <a:pt x="215" y="0"/>
                    </a:lnTo>
                    <a:lnTo>
                      <a:pt x="177" y="71"/>
                    </a:lnTo>
                    <a:lnTo>
                      <a:pt x="150" y="62"/>
                    </a:lnTo>
                    <a:lnTo>
                      <a:pt x="94" y="211"/>
                    </a:lnTo>
                    <a:lnTo>
                      <a:pt x="0" y="213"/>
                    </a:lnTo>
                    <a:lnTo>
                      <a:pt x="46"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96" name="Rectangle 915"/>
              <p:cNvSpPr>
                <a:spLocks noChangeArrowheads="1"/>
              </p:cNvSpPr>
              <p:nvPr/>
            </p:nvSpPr>
            <p:spPr bwMode="auto">
              <a:xfrm>
                <a:off x="7551738" y="6311900"/>
                <a:ext cx="920750" cy="58738"/>
              </a:xfrm>
              <a:prstGeom prst="rect">
                <a:avLst/>
              </a:prstGeom>
              <a:solidFill>
                <a:srgbClr val="C30000"/>
              </a:solidFill>
              <a:ln w="0">
                <a:solidFill>
                  <a:srgbClr val="C3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a:p>
            </p:txBody>
          </p:sp>
        </p:grpSp>
        <p:sp>
          <p:nvSpPr>
            <p:cNvPr id="52" name="Freeform 877"/>
            <p:cNvSpPr>
              <a:spLocks/>
            </p:cNvSpPr>
            <p:nvPr userDrawn="1"/>
          </p:nvSpPr>
          <p:spPr bwMode="auto">
            <a:xfrm>
              <a:off x="6142037" y="3887788"/>
              <a:ext cx="3124200" cy="987425"/>
            </a:xfrm>
            <a:custGeom>
              <a:avLst/>
              <a:gdLst>
                <a:gd name="T0" fmla="*/ 1553 w 1968"/>
                <a:gd name="T1" fmla="*/ 0 h 622"/>
                <a:gd name="T2" fmla="*/ 1968 w 1968"/>
                <a:gd name="T3" fmla="*/ 395 h 622"/>
                <a:gd name="T4" fmla="*/ 1613 w 1968"/>
                <a:gd name="T5" fmla="*/ 338 h 622"/>
                <a:gd name="T6" fmla="*/ 1196 w 1968"/>
                <a:gd name="T7" fmla="*/ 410 h 622"/>
                <a:gd name="T8" fmla="*/ 655 w 1968"/>
                <a:gd name="T9" fmla="*/ 622 h 622"/>
                <a:gd name="T10" fmla="*/ 359 w 1968"/>
                <a:gd name="T11" fmla="*/ 410 h 622"/>
                <a:gd name="T12" fmla="*/ 0 w 1968"/>
                <a:gd name="T13" fmla="*/ 499 h 622"/>
                <a:gd name="T14" fmla="*/ 424 w 1968"/>
                <a:gd name="T15" fmla="*/ 134 h 622"/>
                <a:gd name="T16" fmla="*/ 741 w 1968"/>
                <a:gd name="T17" fmla="*/ 395 h 622"/>
                <a:gd name="T18" fmla="*/ 1119 w 1968"/>
                <a:gd name="T19" fmla="*/ 320 h 622"/>
                <a:gd name="T20" fmla="*/ 1553 w 1968"/>
                <a:gd name="T21" fmla="*/ 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8" h="622">
                  <a:moveTo>
                    <a:pt x="1553" y="0"/>
                  </a:moveTo>
                  <a:lnTo>
                    <a:pt x="1968" y="395"/>
                  </a:lnTo>
                  <a:lnTo>
                    <a:pt x="1613" y="338"/>
                  </a:lnTo>
                  <a:lnTo>
                    <a:pt x="1196" y="410"/>
                  </a:lnTo>
                  <a:lnTo>
                    <a:pt x="655" y="622"/>
                  </a:lnTo>
                  <a:lnTo>
                    <a:pt x="359" y="410"/>
                  </a:lnTo>
                  <a:lnTo>
                    <a:pt x="0" y="499"/>
                  </a:lnTo>
                  <a:lnTo>
                    <a:pt x="424" y="134"/>
                  </a:lnTo>
                  <a:lnTo>
                    <a:pt x="741" y="395"/>
                  </a:lnTo>
                  <a:lnTo>
                    <a:pt x="1119" y="320"/>
                  </a:lnTo>
                  <a:lnTo>
                    <a:pt x="1553" y="0"/>
                  </a:lnTo>
                  <a:close/>
                </a:path>
              </a:pathLst>
            </a:custGeom>
            <a:solidFill>
              <a:schemeClr val="tx2">
                <a:lumMod val="10000"/>
                <a:lumOff val="9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grpSp>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3"/>
          </p:nvPr>
        </p:nvSpPr>
        <p:spPr>
          <a:xfrm>
            <a:off x="211430" y="1212850"/>
            <a:ext cx="5314498" cy="1304203"/>
          </a:xfrm>
        </p:spPr>
        <p:txBody>
          <a:bodyPr/>
          <a:lstStyle>
            <a:lvl1pPr marL="0" indent="0">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2346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ontent with Graphic 2">
    <p:spTree>
      <p:nvGrpSpPr>
        <p:cNvPr id="1" name=""/>
        <p:cNvGrpSpPr/>
        <p:nvPr/>
      </p:nvGrpSpPr>
      <p:grpSpPr>
        <a:xfrm>
          <a:off x="0" y="0"/>
          <a:ext cx="0" cy="0"/>
          <a:chOff x="0" y="0"/>
          <a:chExt cx="0" cy="0"/>
        </a:xfrm>
      </p:grpSpPr>
      <p:sp>
        <p:nvSpPr>
          <p:cNvPr id="51" name="Rectangle 50"/>
          <p:cNvSpPr/>
          <p:nvPr/>
        </p:nvSpPr>
        <p:spPr>
          <a:xfrm>
            <a:off x="0" y="0"/>
            <a:ext cx="9326563" cy="3265714"/>
          </a:xfrm>
          <a:prstGeom prst="rect">
            <a:avLst/>
          </a:prstGeom>
          <a:solidFill>
            <a:srgbClr val="94CDE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97" name="Picture 96"/>
          <p:cNvPicPr>
            <a:picLocks noChangeAspect="1"/>
          </p:cNvPicPr>
          <p:nvPr/>
        </p:nvPicPr>
        <p:blipFill rotWithShape="1">
          <a:blip r:embed="rId2" cstate="email">
            <a:extLst>
              <a:ext uri="{28A0092B-C50C-407E-A947-70E740481C1C}">
                <a14:useLocalDpi xmlns:a14="http://schemas.microsoft.com/office/drawing/2010/main" val="0"/>
              </a:ext>
            </a:extLst>
          </a:blip>
          <a:srcRect r="18395"/>
          <a:stretch/>
        </p:blipFill>
        <p:spPr>
          <a:xfrm>
            <a:off x="0" y="1897063"/>
            <a:ext cx="9349183" cy="5097463"/>
          </a:xfrm>
          <a:prstGeom prst="rect">
            <a:avLst/>
          </a:prstGeom>
        </p:spPr>
      </p:pic>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352017" y="6161442"/>
            <a:ext cx="1234335" cy="353658"/>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50"/>
            <a:ext cx="6743126" cy="1304203"/>
          </a:xfrm>
        </p:spPr>
        <p:txBody>
          <a:bodyPr/>
          <a:lstStyle>
            <a:lvl1pPr marL="0" indent="0">
              <a:buNone/>
              <a:defRPr>
                <a:solidFill>
                  <a:schemeClr val="bg1"/>
                </a:solidFill>
              </a:defRPr>
            </a:lvl1pPr>
            <a:lvl2pPr marL="0" indent="0">
              <a:buNone/>
              <a:defRPr>
                <a:solidFill>
                  <a:schemeClr val="tx1">
                    <a:lumMod val="65000"/>
                    <a:lumOff val="35000"/>
                  </a:schemeClr>
                </a:solidFill>
              </a:defRPr>
            </a:lvl2pPr>
            <a:lvl3pPr marL="0" indent="0">
              <a:buNone/>
              <a:defRPr>
                <a:solidFill>
                  <a:schemeClr val="tx1">
                    <a:lumMod val="65000"/>
                    <a:lumOff val="35000"/>
                  </a:schemeClr>
                </a:solidFill>
              </a:defRPr>
            </a:lvl3pPr>
            <a:lvl4pPr marL="0" indent="0">
              <a:buNone/>
              <a:defRPr>
                <a:solidFill>
                  <a:schemeClr val="tx1">
                    <a:lumMod val="65000"/>
                    <a:lumOff val="35000"/>
                  </a:schemeClr>
                </a:solidFill>
              </a:defRPr>
            </a:lvl4pPr>
            <a:lvl5pPr marL="0" indent="0">
              <a:buNone/>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592585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5961" y="1212850"/>
            <a:ext cx="8914642" cy="1329595"/>
          </a:xfrm>
        </p:spPr>
        <p:txBody>
          <a:bodyPr/>
          <a:lstStyle>
            <a:lvl1pPr marL="0" indent="0">
              <a:buNone/>
              <a:defRPr>
                <a:solidFill>
                  <a:schemeClr val="accent1"/>
                </a:solidFill>
              </a:defRPr>
            </a:lvl1pPr>
            <a:lvl2pPr marL="0" indent="0">
              <a:buFontTx/>
              <a:buNone/>
              <a:defRPr sz="1500"/>
            </a:lvl2pPr>
            <a:lvl3pPr marL="171427" indent="0">
              <a:buNone/>
              <a:defRPr/>
            </a:lvl3pPr>
            <a:lvl4pPr marL="342854" indent="0">
              <a:buNone/>
              <a:defRPr/>
            </a:lvl4pPr>
            <a:lvl5pPr marL="51428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153767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5961" y="1212850"/>
            <a:ext cx="4159701" cy="1329595"/>
          </a:xfrm>
        </p:spPr>
        <p:txBody>
          <a:bodyPr/>
          <a:lstStyle>
            <a:lvl1pPr marL="0" indent="0">
              <a:buNone/>
              <a:defRPr>
                <a:solidFill>
                  <a:schemeClr val="accent1"/>
                </a:solidFill>
              </a:defRPr>
            </a:lvl1pPr>
            <a:lvl2pPr marL="0" indent="0">
              <a:buFontTx/>
              <a:buNone/>
              <a:defRPr sz="1500"/>
            </a:lvl2pPr>
            <a:lvl3pPr marL="171427" indent="0">
              <a:buNone/>
              <a:defRPr/>
            </a:lvl3pPr>
            <a:lvl4pPr marL="342854" indent="0">
              <a:buNone/>
              <a:defRPr/>
            </a:lvl4pPr>
            <a:lvl5pPr marL="51428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3726966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4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287803" y="1563624"/>
            <a:ext cx="5834574" cy="1132874"/>
          </a:xfrm>
        </p:spPr>
        <p:txBody>
          <a:bodyPr/>
          <a:lstStyle>
            <a:lvl1pPr marL="0" indent="0">
              <a:spcBef>
                <a:spcPts val="1800"/>
              </a:spcBef>
              <a:buNone/>
              <a:defRPr sz="1800">
                <a:solidFill>
                  <a:schemeClr val="accent1"/>
                </a:solidFill>
              </a:defRPr>
            </a:lvl1pPr>
            <a:lvl2pPr marL="0" indent="0">
              <a:spcAft>
                <a:spcPts val="450"/>
              </a:spcAft>
              <a:buFontTx/>
              <a:buNone/>
              <a:defRPr sz="1200"/>
            </a:lvl2pPr>
            <a:lvl3pPr marL="171427" indent="0">
              <a:buNone/>
              <a:defRPr sz="900"/>
            </a:lvl3pPr>
            <a:lvl4pPr marL="342854" indent="0">
              <a:buNone/>
              <a:defRPr sz="825"/>
            </a:lvl4pPr>
            <a:lvl5pPr marL="514281" indent="0">
              <a:buNone/>
              <a:defRPr sz="82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398904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6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291560" y="1563578"/>
            <a:ext cx="5825180" cy="1132874"/>
          </a:xfrm>
        </p:spPr>
        <p:txBody>
          <a:bodyPr/>
          <a:lstStyle>
            <a:lvl1pPr marL="0" indent="0">
              <a:spcBef>
                <a:spcPts val="1800"/>
              </a:spcBef>
              <a:buNone/>
              <a:defRPr sz="1800">
                <a:solidFill>
                  <a:schemeClr val="accent1"/>
                </a:solidFill>
              </a:defRPr>
            </a:lvl1pPr>
            <a:lvl2pPr marL="0" indent="0">
              <a:spcAft>
                <a:spcPts val="450"/>
              </a:spcAft>
              <a:buFontTx/>
              <a:buNone/>
              <a:defRPr sz="1200"/>
            </a:lvl2pPr>
            <a:lvl3pPr marL="171427" indent="0">
              <a:buNone/>
              <a:defRPr sz="900"/>
            </a:lvl3pPr>
            <a:lvl4pPr marL="342854" indent="0">
              <a:buNone/>
              <a:defRPr sz="825"/>
            </a:lvl4pPr>
            <a:lvl5pPr marL="514281" indent="0">
              <a:buNone/>
              <a:defRPr sz="82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05961" y="904376"/>
            <a:ext cx="8915832" cy="392415"/>
          </a:xfrm>
        </p:spPr>
        <p:txBody>
          <a:bodyPr/>
          <a:lstStyle>
            <a:lvl1pPr marL="0" indent="0">
              <a:buNone/>
              <a:defRPr sz="1500">
                <a:solidFill>
                  <a:schemeClr val="accent6"/>
                </a:solidFill>
              </a:defRPr>
            </a:lvl1pPr>
            <a:lvl2pPr marL="257141" indent="0">
              <a:buNone/>
              <a:defRPr/>
            </a:lvl2pPr>
            <a:lvl3pPr marL="428568" indent="0">
              <a:buNone/>
              <a:defRPr/>
            </a:lvl3pPr>
            <a:lvl4pPr marL="599995" indent="0">
              <a:buNone/>
              <a:defRPr/>
            </a:lvl4pPr>
            <a:lvl5pPr marL="771422" indent="0">
              <a:buNone/>
              <a:defRPr/>
            </a:lvl5pPr>
          </a:lstStyle>
          <a:p>
            <a:pPr lvl="0"/>
            <a:r>
              <a:rPr lang="en-US" dirty="0"/>
              <a:t>Edit Master text styles</a:t>
            </a:r>
          </a:p>
        </p:txBody>
      </p:sp>
    </p:spTree>
    <p:extLst>
      <p:ext uri="{BB962C8B-B14F-4D97-AF65-F5344CB8AC3E}">
        <p14:creationId xmlns:p14="http://schemas.microsoft.com/office/powerpoint/2010/main" val="145881321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5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4678074" y="1563624"/>
            <a:ext cx="4425530" cy="1186479"/>
          </a:xfrm>
        </p:spPr>
        <p:txBody>
          <a:bodyPr/>
          <a:lstStyle>
            <a:lvl1pPr marL="0" indent="0">
              <a:spcBef>
                <a:spcPts val="1800"/>
              </a:spcBef>
              <a:buNone/>
              <a:defRPr sz="2100">
                <a:solidFill>
                  <a:schemeClr val="accent1"/>
                </a:solidFill>
              </a:defRPr>
            </a:lvl1pPr>
            <a:lvl2pPr marL="0" indent="0">
              <a:buFontTx/>
              <a:buNone/>
              <a:defRPr sz="1350"/>
            </a:lvl2pPr>
            <a:lvl3pPr marL="171427" indent="0">
              <a:buNone/>
              <a:defRPr sz="1050"/>
            </a:lvl3pPr>
            <a:lvl4pPr marL="342854" indent="0">
              <a:buNone/>
              <a:defRPr sz="900"/>
            </a:lvl4pPr>
            <a:lvl5pPr marL="514281" indent="0">
              <a:buNone/>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6649957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681244" y="295275"/>
            <a:ext cx="4441132" cy="917575"/>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4682126" y="1772143"/>
            <a:ext cx="4440249" cy="1278812"/>
          </a:xfrm>
        </p:spPr>
        <p:txBody>
          <a:bodyPr/>
          <a:lstStyle>
            <a:lvl1pPr marL="0" indent="0">
              <a:buNone/>
              <a:defRPr sz="2400">
                <a:solidFill>
                  <a:schemeClr val="accent1"/>
                </a:solidFill>
              </a:defRPr>
            </a:lvl1pPr>
            <a:lvl2pPr marL="0" indent="0">
              <a:buFontTx/>
              <a:buNone/>
              <a:defRPr sz="1200"/>
            </a:lvl2pPr>
            <a:lvl3pPr marL="171427" indent="0">
              <a:buNone/>
              <a:defRPr sz="1200"/>
            </a:lvl3pPr>
            <a:lvl4pPr marL="342854" indent="0">
              <a:buNone/>
              <a:defRPr sz="1050"/>
            </a:lvl4pPr>
            <a:lvl5pPr marL="514281" indent="0">
              <a:buNone/>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882738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3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948928" y="2802306"/>
            <a:ext cx="5485933" cy="475515"/>
          </a:xfrm>
        </p:spPr>
        <p:txBody>
          <a:bodyPr anchor="ctr"/>
          <a:lstStyle>
            <a:lvl1pPr marL="0" indent="0">
              <a:spcBef>
                <a:spcPts val="450"/>
              </a:spcBef>
              <a:spcAft>
                <a:spcPts val="450"/>
              </a:spcAft>
              <a:buNone/>
              <a:defRPr sz="2100">
                <a:solidFill>
                  <a:schemeClr val="accent6"/>
                </a:solidFill>
              </a:defRPr>
            </a:lvl1pPr>
            <a:lvl2pPr marL="0" indent="0">
              <a:buFontTx/>
              <a:buNone/>
              <a:defRPr sz="1350">
                <a:solidFill>
                  <a:schemeClr val="accent1"/>
                </a:solidFill>
              </a:defRPr>
            </a:lvl2pPr>
            <a:lvl3pPr marL="171427" indent="0">
              <a:buNone/>
              <a:defRPr sz="1050"/>
            </a:lvl3pPr>
            <a:lvl4pPr marL="342854" indent="0">
              <a:buNone/>
              <a:defRPr sz="900"/>
            </a:lvl4pPr>
            <a:lvl5pPr marL="514281" indent="0">
              <a:buNone/>
              <a:defRPr sz="900"/>
            </a:lvl5pPr>
          </a:lstStyle>
          <a:p>
            <a:pPr lvl="0"/>
            <a:r>
              <a:rPr lang="en-US" dirty="0"/>
              <a:t>Click to edit Master text styles</a:t>
            </a:r>
          </a:p>
        </p:txBody>
      </p:sp>
    </p:spTree>
    <p:extLst>
      <p:ext uri="{BB962C8B-B14F-4D97-AF65-F5344CB8AC3E}">
        <p14:creationId xmlns:p14="http://schemas.microsoft.com/office/powerpoint/2010/main" val="40848575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63" presetClass="path" presetSubtype="0" decel="100000" fill="hold" grpId="1" nodeType="withEffect">
                                  <p:stCondLst>
                                    <p:cond delay="0"/>
                                  </p:stCondLst>
                                  <p:childTnLst>
                                    <p:animMotion origin="layout" path="M -4.22007E-6 -4.5892E-6 L 0.05349 -4.5892E-6 " pathEditMode="relative" rAng="0" ptsTypes="AA">
                                      <p:cBhvr>
                                        <p:cTn id="9" dur="500" fill="hold"/>
                                        <p:tgtEl>
                                          <p:spTgt spid="6">
                                            <p:txEl>
                                              <p:pRg st="0" end="0"/>
                                            </p:txEl>
                                          </p:spTgt>
                                        </p:tgtEl>
                                        <p:attrNameLst>
                                          <p:attrName>ppt_x</p:attrName>
                                          <p:attrName>ppt_y</p:attrName>
                                        </p:attrNameLst>
                                      </p:cBhvr>
                                      <p:rCtr x="266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6" grpId="1" build="p" bldLvl="2">
        <p:tmplLst>
          <p:tmpl lvl="1">
            <p:tnLst>
              <p:par>
                <p:cTn presetID="63" presetClass="path" presetSubtype="0" decel="100000" fill="hold" nodeType="withEffect">
                  <p:stCondLst>
                    <p:cond delay="0"/>
                  </p:stCondLst>
                  <p:childTnLst>
                    <p:animMotion origin="layout" path="M -4.22007E-6 -4.5892E-6 L 0.05349 -4.5892E-6 " pathEditMode="relative" rAng="0" ptsTypes="AA">
                      <p:cBhvr>
                        <p:cTn dur="500" fill="hold"/>
                        <p:tgtEl>
                          <p:spTgt spid="6"/>
                        </p:tgtEl>
                        <p:attrNameLst>
                          <p:attrName>ppt_x</p:attrName>
                          <p:attrName>ppt_y</p:attrName>
                        </p:attrNameLst>
                      </p:cBhvr>
                      <p:rCtr x="2668" y="0"/>
                    </p:animMotion>
                  </p:childTnLst>
                </p:cTn>
              </p:par>
            </p:tnLst>
          </p:tmpl>
        </p:tmplLst>
      </p:bldP>
    </p:bld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5961" y="1212850"/>
            <a:ext cx="8914642" cy="1329595"/>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71427" indent="0">
              <a:buNone/>
              <a:defRPr/>
            </a:lvl3pPr>
            <a:lvl4pPr marL="342854" indent="0">
              <a:buNone/>
              <a:defRPr/>
            </a:lvl4pPr>
            <a:lvl5pPr marL="51428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859482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1" y="1212850"/>
            <a:ext cx="8914642" cy="1345753"/>
          </a:xfrm>
        </p:spPr>
        <p:txBody>
          <a:bodyPr>
            <a:spAutoFit/>
          </a:bodyPr>
          <a:lstStyle>
            <a:lvl1pPr>
              <a:defRPr sz="2700">
                <a:solidFill>
                  <a:schemeClr val="accent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406728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1" y="1212850"/>
            <a:ext cx="8914642" cy="1345753"/>
          </a:xfrm>
        </p:spPr>
        <p:txBody>
          <a:bodyPr>
            <a:spAutoFit/>
          </a:bodyPr>
          <a:lstStyle>
            <a:lvl1pPr>
              <a:defRPr sz="27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074789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49"/>
            <a:ext cx="4114449" cy="1795876"/>
          </a:xfrm>
        </p:spPr>
        <p:txBody>
          <a:bodyPr wrap="square">
            <a:spAutoFit/>
          </a:bodyPr>
          <a:lstStyle>
            <a:lvl1pPr marL="0" indent="0">
              <a:spcBef>
                <a:spcPts val="918"/>
              </a:spcBef>
              <a:buClr>
                <a:schemeClr val="tx1"/>
              </a:buClr>
              <a:buFont typeface="Wingdings" pitchFamily="2" charset="2"/>
              <a:buNone/>
              <a:defRPr sz="2700">
                <a:gradFill>
                  <a:gsLst>
                    <a:gs pos="1250">
                      <a:schemeClr val="tx2"/>
                    </a:gs>
                    <a:gs pos="99000">
                      <a:schemeClr val="tx2"/>
                    </a:gs>
                  </a:gsLst>
                  <a:lin ang="5400000" scaled="0"/>
                </a:gradFill>
              </a:defRPr>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49"/>
            <a:ext cx="4114449" cy="1795876"/>
          </a:xfrm>
        </p:spPr>
        <p:txBody>
          <a:bodyPr wrap="square">
            <a:spAutoFit/>
          </a:bodyPr>
          <a:lstStyle>
            <a:lvl1pPr marL="0" indent="0">
              <a:spcBef>
                <a:spcPts val="918"/>
              </a:spcBef>
              <a:buClr>
                <a:schemeClr val="tx1"/>
              </a:buClr>
              <a:buFont typeface="Wingdings" pitchFamily="2" charset="2"/>
              <a:buNone/>
              <a:defRPr sz="2700">
                <a:gradFill>
                  <a:gsLst>
                    <a:gs pos="1250">
                      <a:schemeClr val="tx2"/>
                    </a:gs>
                    <a:gs pos="99000">
                      <a:schemeClr val="tx2"/>
                    </a:gs>
                  </a:gsLst>
                  <a:lin ang="5400000" scaled="0"/>
                </a:gradFill>
              </a:defRPr>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092981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49"/>
            <a:ext cx="4114449" cy="1795876"/>
          </a:xfrm>
        </p:spPr>
        <p:txBody>
          <a:bodyPr wrap="square">
            <a:spAutoFit/>
          </a:bodyPr>
          <a:lstStyle>
            <a:lvl1pPr marL="0" indent="0">
              <a:spcBef>
                <a:spcPts val="918"/>
              </a:spcBef>
              <a:buClr>
                <a:schemeClr val="tx1"/>
              </a:buClr>
              <a:buFont typeface="Wingdings" pitchFamily="2" charset="2"/>
              <a:buNone/>
              <a:defRPr sz="27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49"/>
            <a:ext cx="4114449" cy="1795876"/>
          </a:xfrm>
        </p:spPr>
        <p:txBody>
          <a:bodyPr wrap="square">
            <a:spAutoFit/>
          </a:bodyPr>
          <a:lstStyle>
            <a:lvl1pPr marL="0" indent="0">
              <a:spcBef>
                <a:spcPts val="918"/>
              </a:spcBef>
              <a:buClr>
                <a:schemeClr val="tx1"/>
              </a:buClr>
              <a:buFont typeface="Wingdings" pitchFamily="2" charset="2"/>
              <a:buNone/>
              <a:defRPr sz="27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772209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50"/>
            <a:ext cx="4114449" cy="1763560"/>
          </a:xfrm>
        </p:spPr>
        <p:txBody>
          <a:bodyPr wrap="square">
            <a:spAutoFit/>
          </a:bodyPr>
          <a:lstStyle>
            <a:lvl1pPr marL="215475" indent="-215475">
              <a:spcBef>
                <a:spcPts val="918"/>
              </a:spcBef>
              <a:buClr>
                <a:schemeClr val="tx2"/>
              </a:buClr>
              <a:buFont typeface="Arial" pitchFamily="34" charset="0"/>
              <a:buChar char="•"/>
              <a:defRPr sz="2400">
                <a:gradFill>
                  <a:gsLst>
                    <a:gs pos="1250">
                      <a:schemeClr val="tx2"/>
                    </a:gs>
                    <a:gs pos="99000">
                      <a:schemeClr val="tx2"/>
                    </a:gs>
                  </a:gsLst>
                  <a:lin ang="5400000" scaled="0"/>
                </a:gradFill>
              </a:defRPr>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50"/>
            <a:ext cx="4114449" cy="1763560"/>
          </a:xfrm>
        </p:spPr>
        <p:txBody>
          <a:bodyPr wrap="square">
            <a:spAutoFit/>
          </a:bodyPr>
          <a:lstStyle>
            <a:lvl1pPr marL="215475" indent="-215475">
              <a:spcBef>
                <a:spcPts val="918"/>
              </a:spcBef>
              <a:buClr>
                <a:schemeClr val="tx2"/>
              </a:buClr>
              <a:buFont typeface="Arial" pitchFamily="34" charset="0"/>
              <a:buChar char="•"/>
              <a:defRPr sz="2400">
                <a:gradFill>
                  <a:gsLst>
                    <a:gs pos="1250">
                      <a:schemeClr val="tx2"/>
                    </a:gs>
                    <a:gs pos="99000">
                      <a:schemeClr val="tx2"/>
                    </a:gs>
                  </a:gsLst>
                  <a:lin ang="5400000" scaled="0"/>
                </a:gradFill>
              </a:defRPr>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722131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50"/>
            <a:ext cx="4114449" cy="1763560"/>
          </a:xfrm>
        </p:spPr>
        <p:txBody>
          <a:bodyPr wrap="square">
            <a:spAutoFit/>
          </a:bodyPr>
          <a:lstStyle>
            <a:lvl1pPr marL="215475" indent="-215475">
              <a:spcBef>
                <a:spcPts val="918"/>
              </a:spcBef>
              <a:buClr>
                <a:schemeClr val="tx1"/>
              </a:buClr>
              <a:buFont typeface="Arial" pitchFamily="34" charset="0"/>
              <a:buChar char="•"/>
              <a:defRPr sz="24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50"/>
            <a:ext cx="4114449" cy="1763560"/>
          </a:xfrm>
        </p:spPr>
        <p:txBody>
          <a:bodyPr wrap="square">
            <a:spAutoFit/>
          </a:bodyPr>
          <a:lstStyle>
            <a:lvl1pPr marL="215475" indent="-215475">
              <a:spcBef>
                <a:spcPts val="918"/>
              </a:spcBef>
              <a:buClr>
                <a:schemeClr val="tx1"/>
              </a:buClr>
              <a:buFont typeface="Arial" pitchFamily="34" charset="0"/>
              <a:buChar char="•"/>
              <a:defRPr sz="24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6349498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951398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1209973"/>
            <a:ext cx="7541968" cy="2751698"/>
          </a:xfrm>
          <a:noFill/>
        </p:spPr>
        <p:txBody>
          <a:bodyPr tIns="91440" bIns="91440" anchor="t" anchorCtr="0"/>
          <a:lstStyle>
            <a:lvl1pPr>
              <a:defRPr sz="5399" spc="-75"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5961" y="3954464"/>
            <a:ext cx="7543159" cy="1829593"/>
          </a:xfrm>
          <a:noFill/>
        </p:spPr>
        <p:txBody>
          <a:bodyPr lIns="182880" tIns="146304" rIns="182880" bIns="146304">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409615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202" cy="2751698"/>
          </a:xfrm>
          <a:noFill/>
        </p:spPr>
        <p:txBody>
          <a:bodyPr tIns="91440" bIns="91440" anchor="t" anchorCtr="0"/>
          <a:lstStyle>
            <a:lvl1pPr>
              <a:defRPr sz="6000" spc="-75"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6"/>
            <a:ext cx="7315200" cy="1829593"/>
          </a:xfrm>
          <a:noFill/>
        </p:spPr>
        <p:txBody>
          <a:bodyPr lIns="182880" tIns="146304" rIns="182880" bIns="146304">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1209973"/>
            <a:ext cx="7541968" cy="2751698"/>
          </a:xfrm>
          <a:noFill/>
        </p:spPr>
        <p:txBody>
          <a:bodyPr tIns="91440" bIns="91440" anchor="t" anchorCtr="0"/>
          <a:lstStyle>
            <a:lvl1pPr>
              <a:defRPr lang="en-US" sz="5399" b="0" kern="1200" cap="none" spc="-75"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513274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2"/>
            <a:ext cx="8914642" cy="932435"/>
          </a:xfrm>
          <a:noFill/>
        </p:spPr>
        <p:txBody>
          <a:bodyPr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8908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2"/>
            <a:ext cx="8914642" cy="932435"/>
          </a:xfrm>
          <a:noFill/>
        </p:spPr>
        <p:txBody>
          <a:bodyPr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2829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2"/>
            <a:ext cx="8914642" cy="932435"/>
          </a:xfrm>
          <a:noFill/>
        </p:spPr>
        <p:txBody>
          <a:bodyPr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06177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2" y="1241427"/>
            <a:ext cx="4114449" cy="1555554"/>
          </a:xfrm>
        </p:spPr>
        <p:txBody>
          <a:bodyPr>
            <a:spAutoFit/>
          </a:bodyPr>
          <a:lstStyle>
            <a:lvl1pPr>
              <a:defRPr sz="494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1"/>
          </p:nvPr>
        </p:nvSpPr>
        <p:spPr>
          <a:xfrm>
            <a:off x="4434701" y="1"/>
            <a:ext cx="4912101" cy="517065"/>
          </a:xfrm>
        </p:spPr>
        <p:txBody>
          <a:bodyPr/>
          <a:lstStyle/>
          <a:p>
            <a:r>
              <a:rPr lang="en-US"/>
              <a:t>Click icon to add picture</a:t>
            </a:r>
          </a:p>
        </p:txBody>
      </p:sp>
    </p:spTree>
    <p:extLst>
      <p:ext uri="{BB962C8B-B14F-4D97-AF65-F5344CB8AC3E}">
        <p14:creationId xmlns:p14="http://schemas.microsoft.com/office/powerpoint/2010/main" val="232161533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057859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5471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0508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090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9326563"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6" tIns="34976" rIns="34976" bIns="34976" numCol="1" spcCol="0" rtlCol="0" fromWordArt="0" anchor="ctr" anchorCtr="0" forceAA="0" compatLnSpc="1">
            <a:prstTxWarp prst="textNoShape">
              <a:avLst/>
            </a:prstTxWarp>
            <a:noAutofit/>
          </a:bodyPr>
          <a:lstStyle/>
          <a:p>
            <a:pPr algn="ctr" defTabSz="699261" fontAlgn="base">
              <a:spcBef>
                <a:spcPct val="0"/>
              </a:spcBef>
              <a:spcAft>
                <a:spcPct val="0"/>
              </a:spcAft>
            </a:pPr>
            <a:endParaRPr lang="en-US" sz="13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5961" y="1221158"/>
            <a:ext cx="8914641" cy="1314591"/>
          </a:xfrm>
        </p:spPr>
        <p:txBody>
          <a:bodyPr/>
          <a:lstStyle>
            <a:lvl1pPr marL="0" indent="0">
              <a:buNone/>
              <a:defRPr sz="247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988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38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108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8814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939494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7" y="1209973"/>
            <a:ext cx="7315201" cy="2751698"/>
          </a:xfrm>
          <a:noFill/>
        </p:spPr>
        <p:txBody>
          <a:bodyPr tIns="91440" bIns="91440" anchor="t" anchorCtr="0"/>
          <a:lstStyle>
            <a:lvl1pPr>
              <a:defRPr lang="en-US" sz="6000" b="0" kern="1200" cap="none" spc="-75"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05961" y="6292889"/>
            <a:ext cx="8891546" cy="302372"/>
          </a:xfrm>
          <a:prstGeom prst="rect">
            <a:avLst/>
          </a:prstGeom>
          <a:noFill/>
          <a:ln w="12700">
            <a:noFill/>
            <a:miter lim="800000"/>
            <a:headEnd type="none" w="sm" len="sm"/>
            <a:tailEnd type="none" w="sm" len="sm"/>
          </a:ln>
          <a:effectLst/>
        </p:spPr>
        <p:txBody>
          <a:bodyPr vert="horz" wrap="square" lIns="137148" tIns="109719" rIns="137148" bIns="109719" numCol="1" anchor="t" anchorCtr="0" compatLnSpc="1">
            <a:prstTxWarp prst="textNoShape">
              <a:avLst/>
            </a:prstTxWarp>
            <a:spAutoFit/>
          </a:bodyPr>
          <a:lstStyle/>
          <a:p>
            <a:pPr defTabSz="699124" eaLnBrk="0" hangingPunct="0"/>
            <a:r>
              <a:rPr lang="en-US" sz="525"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344393" y="3145040"/>
            <a:ext cx="2466170" cy="704444"/>
          </a:xfrm>
          <a:prstGeom prst="rect">
            <a:avLst/>
          </a:prstGeom>
        </p:spPr>
      </p:pic>
    </p:spTree>
    <p:extLst>
      <p:ext uri="{BB962C8B-B14F-4D97-AF65-F5344CB8AC3E}">
        <p14:creationId xmlns:p14="http://schemas.microsoft.com/office/powerpoint/2010/main" val="975992338"/>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5961" y="1212850"/>
            <a:ext cx="8914642" cy="1878976"/>
          </a:xfrm>
          <a:prstGeom prst="rect">
            <a:avLst/>
          </a:prstGeom>
        </p:spPr>
        <p:txBody>
          <a:bodyPr/>
          <a:lstStyle>
            <a:lvl1pPr marL="217856" indent="-217856">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Arial" pitchFamily="34" charset="0"/>
              <a:buChar char="•"/>
              <a:defRPr sz="21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Arial" pitchFamily="34" charset="0"/>
              <a:buChar char="•"/>
              <a:defRPr sz="15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9326564"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953932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9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191" y="1590"/>
          <a:ext cx="1190" cy="1587"/>
        </p:xfrm>
        <a:graphic>
          <a:graphicData uri="http://schemas.openxmlformats.org/presentationml/2006/ole">
            <mc:AlternateContent xmlns:mc="http://schemas.openxmlformats.org/markup-compatibility/2006">
              <mc:Choice xmlns:v="urn:schemas-microsoft-com:vml" Requires="v">
                <p:oleObj spid="_x0000_s11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1" y="1590"/>
                        <a:ext cx="1190" cy="1587"/>
                      </a:xfrm>
                      <a:prstGeom prst="rect">
                        <a:avLst/>
                      </a:prstGeom>
                    </p:spPr>
                  </p:pic>
                </p:oleObj>
              </mc:Fallback>
            </mc:AlternateContent>
          </a:graphicData>
        </a:graphic>
      </p:graphicFrame>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 y="1"/>
            <a:ext cx="9357400" cy="7015080"/>
          </a:xfrm>
          <a:prstGeom prst="rect">
            <a:avLst/>
          </a:prstGeom>
        </p:spPr>
      </p:pic>
    </p:spTree>
    <p:extLst>
      <p:ext uri="{BB962C8B-B14F-4D97-AF65-F5344CB8AC3E}">
        <p14:creationId xmlns:p14="http://schemas.microsoft.com/office/powerpoint/2010/main" val="3296563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47" y="-1"/>
            <a:ext cx="9326563" cy="6995517"/>
          </a:xfrm>
          <a:prstGeom prst="rect">
            <a:avLst/>
          </a:prstGeom>
        </p:spPr>
      </p:pic>
      <p:pic>
        <p:nvPicPr>
          <p:cNvPr id="14" name="Picture 13" descr="DataInsights-iStock_000022453217Large.jpg"/>
          <p:cNvPicPr>
            <a:picLocks noChangeAspect="1"/>
          </p:cNvPicPr>
          <p:nvPr userDrawn="1"/>
        </p:nvPicPr>
        <p:blipFill rotWithShape="1">
          <a:blip r:embed="rId3" cstate="email">
            <a:alphaModFix/>
            <a:extLst>
              <a:ext uri="{28A0092B-C50C-407E-A947-70E740481C1C}">
                <a14:useLocalDpi xmlns:a14="http://schemas.microsoft.com/office/drawing/2010/main" val="0"/>
              </a:ext>
            </a:extLst>
          </a:blip>
          <a:srcRect/>
          <a:stretch/>
        </p:blipFill>
        <p:spPr>
          <a:xfrm>
            <a:off x="6118597" y="2348029"/>
            <a:ext cx="2109221" cy="2806484"/>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5028773" y="241300"/>
            <a:ext cx="4179929"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auto">
          <a:xfrm>
            <a:off x="1" y="1"/>
            <a:ext cx="4630951"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34975" rIns="0" bIns="34975" anchor="ctr"/>
          <a:lstStyle/>
          <a:p>
            <a:pPr algn="ctr" defTabSz="699261">
              <a:defRPr/>
            </a:pPr>
            <a:endParaRPr lang="en-US" sz="1500"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54776" y="479425"/>
            <a:ext cx="997659" cy="292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05962" y="1456837"/>
            <a:ext cx="4197477" cy="915537"/>
          </a:xfrm>
        </p:spPr>
        <p:txBody>
          <a:bodyPr/>
          <a:lstStyle>
            <a:lvl1pPr>
              <a:defRPr sz="3899">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06009" y="4440119"/>
            <a:ext cx="4197429" cy="441146"/>
          </a:xfrm>
        </p:spPr>
        <p:txBody>
          <a:bodyPr/>
          <a:lstStyle>
            <a:lvl1pPr marL="0" indent="0" algn="l">
              <a:lnSpc>
                <a:spcPts val="2025"/>
              </a:lnSpc>
              <a:buNone/>
              <a:defRPr sz="1650">
                <a:solidFill>
                  <a:schemeClr val="bg1"/>
                </a:solidFill>
                <a:latin typeface="+mj-lt"/>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44245872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91703" y="2125664"/>
            <a:ext cx="7543158" cy="917575"/>
          </a:xfrm>
        </p:spPr>
        <p:txBody>
          <a:bodyPr/>
          <a:lstStyle>
            <a:lvl1pPr marL="211903" indent="-211903">
              <a:tabLst>
                <a:tab pos="211903" algn="l"/>
              </a:tabLst>
              <a:defRPr sz="44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320411" y="4868847"/>
            <a:ext cx="4114450" cy="849463"/>
          </a:xfrm>
        </p:spPr>
        <p:txBody>
          <a:bodyPr/>
          <a:lstStyle>
            <a:lvl1pPr marL="0" indent="0" algn="r">
              <a:spcBef>
                <a:spcPts val="0"/>
              </a:spcBef>
              <a:buNone/>
              <a:defRPr sz="24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2600110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3" name="Rectangle 42"/>
          <p:cNvSpPr/>
          <p:nvPr userDrawn="1"/>
        </p:nvSpPr>
        <p:spPr bwMode="auto">
          <a:xfrm>
            <a:off x="0" y="5482956"/>
            <a:ext cx="9326563"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9" tIns="34970" rIns="69939" bIns="34970" numCol="1" spcCol="0" rtlCol="0" fromWordArt="0" anchor="ctr" anchorCtr="0" forceAA="0" compatLnSpc="1">
            <a:prstTxWarp prst="textNoShape">
              <a:avLst/>
            </a:prstTxWarp>
            <a:noAutofit/>
          </a:bodyPr>
          <a:lstStyle/>
          <a:p>
            <a:pPr algn="ctr" defTabSz="713176" fontAlgn="base">
              <a:spcBef>
                <a:spcPct val="0"/>
              </a:spcBef>
              <a:spcAft>
                <a:spcPct val="0"/>
              </a:spcAft>
            </a:pPr>
            <a:endParaRPr lang="en-US" sz="1836">
              <a:solidFill>
                <a:schemeClr val="tx1"/>
              </a:solidFill>
              <a:ea typeface="Segoe UI" pitchFamily="34" charset="0"/>
              <a:cs typeface="Segoe UI" pitchFamily="34" charset="0"/>
            </a:endParaRPr>
          </a:p>
        </p:txBody>
      </p:sp>
      <p:sp>
        <p:nvSpPr>
          <p:cNvPr id="49" name="Rectangle 48"/>
          <p:cNvSpPr/>
          <p:nvPr userDrawn="1"/>
        </p:nvSpPr>
        <p:spPr bwMode="auto">
          <a:xfrm>
            <a:off x="-166458" y="6994525"/>
            <a:ext cx="9587485"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9" tIns="34970" rIns="69939" bIns="34970" numCol="1" spcCol="0" rtlCol="0" fromWordArt="0" anchor="ctr" anchorCtr="0" forceAA="0" compatLnSpc="1">
            <a:prstTxWarp prst="textNoShape">
              <a:avLst/>
            </a:prstTxWarp>
            <a:noAutofit/>
          </a:bodyPr>
          <a:lstStyle/>
          <a:p>
            <a:pPr algn="ctr" defTabSz="713176" fontAlgn="base">
              <a:spcBef>
                <a:spcPct val="0"/>
              </a:spcBef>
              <a:spcAft>
                <a:spcPct val="0"/>
              </a:spcAft>
            </a:pPr>
            <a:endParaRPr lang="en-US" sz="1836">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93727325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1209974"/>
            <a:ext cx="7541968" cy="932307"/>
          </a:xfrm>
          <a:noFill/>
        </p:spPr>
        <p:txBody>
          <a:bodyPr tIns="91440" bIns="91440" anchor="t" anchorCtr="0">
            <a:spAutoFit/>
          </a:bodyPr>
          <a:lstStyle>
            <a:lvl1pPr>
              <a:defRPr sz="5398" spc="-75"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5962" y="3954463"/>
            <a:ext cx="7543159" cy="669286"/>
          </a:xfrm>
          <a:noFill/>
        </p:spPr>
        <p:txBody>
          <a:bodyPr lIns="182880" tIns="146304" rIns="182880" bIns="146304">
            <a:spAutoFit/>
          </a:bodyPr>
          <a:lstStyle>
            <a:lvl1pPr marL="0" indent="0">
              <a:spcBef>
                <a:spcPts val="0"/>
              </a:spcBef>
              <a:buNone/>
              <a:defRPr sz="26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990161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3" name="Rectangle 42"/>
          <p:cNvSpPr/>
          <p:nvPr userDrawn="1"/>
        </p:nvSpPr>
        <p:spPr bwMode="auto">
          <a:xfrm>
            <a:off x="0" y="5482956"/>
            <a:ext cx="9326563"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9" tIns="34970" rIns="69939" bIns="34970" numCol="1" spcCol="0" rtlCol="0" fromWordArt="0" anchor="ctr" anchorCtr="0" forceAA="0" compatLnSpc="1">
            <a:prstTxWarp prst="textNoShape">
              <a:avLst/>
            </a:prstTxWarp>
            <a:noAutofit/>
          </a:bodyPr>
          <a:lstStyle/>
          <a:p>
            <a:pPr algn="ctr" defTabSz="713176" fontAlgn="base">
              <a:spcBef>
                <a:spcPct val="0"/>
              </a:spcBef>
              <a:spcAft>
                <a:spcPct val="0"/>
              </a:spcAft>
            </a:pPr>
            <a:endParaRPr lang="en-US" sz="1836">
              <a:solidFill>
                <a:schemeClr val="tx1"/>
              </a:solidFill>
              <a:ea typeface="Segoe UI" pitchFamily="34" charset="0"/>
              <a:cs typeface="Segoe UI" pitchFamily="34" charset="0"/>
            </a:endParaRPr>
          </a:p>
        </p:txBody>
      </p:sp>
      <p:sp>
        <p:nvSpPr>
          <p:cNvPr id="49" name="Rectangle 48"/>
          <p:cNvSpPr/>
          <p:nvPr userDrawn="1"/>
        </p:nvSpPr>
        <p:spPr bwMode="auto">
          <a:xfrm>
            <a:off x="-166458" y="6994525"/>
            <a:ext cx="9587485"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9" tIns="34970" rIns="69939" bIns="34970" numCol="1" spcCol="0" rtlCol="0" fromWordArt="0" anchor="ctr" anchorCtr="0" forceAA="0" compatLnSpc="1">
            <a:prstTxWarp prst="textNoShape">
              <a:avLst/>
            </a:prstTxWarp>
            <a:noAutofit/>
          </a:bodyPr>
          <a:lstStyle/>
          <a:p>
            <a:pPr algn="ctr" defTabSz="713176" fontAlgn="base">
              <a:spcBef>
                <a:spcPct val="0"/>
              </a:spcBef>
              <a:spcAft>
                <a:spcPct val="0"/>
              </a:spcAft>
            </a:pPr>
            <a:endParaRPr lang="en-US" sz="1836">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6844828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8640456"/>
      </p:ext>
    </p:extLst>
  </p:cSld>
  <p:clrMapOvr>
    <a:masterClrMapping/>
  </p:clrMapOv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5962" y="1212854"/>
            <a:ext cx="8914642" cy="1472711"/>
          </a:xfrm>
        </p:spPr>
        <p:txBody>
          <a:bodyPr/>
          <a:lstStyle>
            <a:lvl1pPr marL="0" indent="0">
              <a:buNone/>
              <a:defRPr>
                <a:gradFill>
                  <a:gsLst>
                    <a:gs pos="1250">
                      <a:schemeClr val="tx2"/>
                    </a:gs>
                    <a:gs pos="99000">
                      <a:schemeClr val="tx2"/>
                    </a:gs>
                  </a:gsLst>
                  <a:lin ang="5400000" scaled="0"/>
                </a:gradFill>
              </a:defRPr>
            </a:lvl1pPr>
            <a:lvl2pPr marL="0" indent="0">
              <a:buFontTx/>
              <a:buNone/>
              <a:defRPr sz="1530"/>
            </a:lvl2pPr>
            <a:lvl3pPr marL="174831" indent="0">
              <a:buNone/>
              <a:defRPr/>
            </a:lvl3pPr>
            <a:lvl4pPr marL="349662" indent="0">
              <a:buNone/>
              <a:defRPr/>
            </a:lvl4pPr>
            <a:lvl5pPr marL="52449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5667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89431"/>
            <a:ext cx="8777288"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3135060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2" y="1212853"/>
            <a:ext cx="8914642" cy="1472711"/>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496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087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05109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5962" y="6294476"/>
            <a:ext cx="8914641" cy="302340"/>
          </a:xfrm>
          <a:prstGeom prst="rect">
            <a:avLst/>
          </a:prstGeom>
          <a:noFill/>
          <a:ln w="12700">
            <a:noFill/>
            <a:miter lim="800000"/>
            <a:headEnd type="none" w="sm" len="sm"/>
            <a:tailEnd type="none" w="sm" len="sm"/>
          </a:ln>
          <a:effectLst/>
        </p:spPr>
        <p:txBody>
          <a:bodyPr vert="horz" wrap="square" lIns="137129" tIns="109703" rIns="137129" bIns="109703" numCol="1" anchor="t" anchorCtr="0" compatLnSpc="1">
            <a:prstTxWarp prst="textNoShape">
              <a:avLst/>
            </a:prstTxWarp>
            <a:spAutoFit/>
          </a:bodyPr>
          <a:lstStyle/>
          <a:p>
            <a:pPr marL="0" marR="0" lvl="0" indent="0" algn="l" defTabSz="699094" rtl="0" eaLnBrk="0" fontAlgn="auto" latinLnBrk="0" hangingPunct="0">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4395" y="3145040"/>
            <a:ext cx="2468670" cy="705836"/>
          </a:xfrm>
          <a:prstGeom prst="rect">
            <a:avLst/>
          </a:prstGeom>
        </p:spPr>
      </p:pic>
    </p:spTree>
    <p:extLst>
      <p:ext uri="{BB962C8B-B14F-4D97-AF65-F5344CB8AC3E}">
        <p14:creationId xmlns:p14="http://schemas.microsoft.com/office/powerpoint/2010/main" val="50951463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342871" y="479425"/>
            <a:ext cx="1087362"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621375" y="493939"/>
            <a:ext cx="5351013" cy="1325880"/>
          </a:xfrm>
          <a:prstGeom prst="rect">
            <a:avLst/>
          </a:prstGeom>
        </p:spPr>
      </p:pic>
    </p:spTree>
    <p:extLst>
      <p:ext uri="{BB962C8B-B14F-4D97-AF65-F5344CB8AC3E}">
        <p14:creationId xmlns:p14="http://schemas.microsoft.com/office/powerpoint/2010/main" val="113795461"/>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2381" y="4395789"/>
            <a:ext cx="9324182" cy="2601913"/>
          </a:xfrm>
          <a:prstGeom prst="rect">
            <a:avLst/>
          </a:prstGeom>
          <a:solidFill>
            <a:srgbClr val="4DA0E2"/>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0" name="Rectangle 7"/>
          <p:cNvSpPr>
            <a:spLocks noChangeArrowheads="1"/>
          </p:cNvSpPr>
          <p:nvPr userDrawn="1"/>
        </p:nvSpPr>
        <p:spPr bwMode="auto">
          <a:xfrm>
            <a:off x="0" y="5843589"/>
            <a:ext cx="9324183" cy="1154113"/>
          </a:xfrm>
          <a:prstGeom prst="rect">
            <a:avLst/>
          </a:prstGeom>
          <a:solidFill>
            <a:srgbClr val="00188F"/>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1" name="Rectangle 8"/>
          <p:cNvSpPr>
            <a:spLocks noChangeArrowheads="1"/>
          </p:cNvSpPr>
          <p:nvPr userDrawn="1"/>
        </p:nvSpPr>
        <p:spPr bwMode="auto">
          <a:xfrm>
            <a:off x="2382" y="3409951"/>
            <a:ext cx="9321802"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3" name="Rectangle 12"/>
          <p:cNvSpPr/>
          <p:nvPr userDrawn="1"/>
        </p:nvSpPr>
        <p:spPr bwMode="white">
          <a:xfrm>
            <a:off x="0" y="-318"/>
            <a:ext cx="9326087"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07388" y="3551231"/>
            <a:ext cx="4799002" cy="1830388"/>
          </a:xfrm>
          <a:noFill/>
        </p:spPr>
        <p:txBody>
          <a:bodyPr lIns="146304" tIns="109728" rIns="146304" bIns="109728">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6010" y="1713939"/>
            <a:ext cx="7543110" cy="1837298"/>
          </a:xfrm>
          <a:noFill/>
        </p:spPr>
        <p:txBody>
          <a:bodyPr lIns="146304" tIns="91440" rIns="146304" bIns="91440" anchor="t" anchorCtr="0"/>
          <a:lstStyle>
            <a:lvl1pPr>
              <a:defRPr sz="4499" spc="-75"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2381" y="4395789"/>
            <a:ext cx="9324182"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6360762" y="294305"/>
            <a:ext cx="2742967" cy="392415"/>
          </a:xfrm>
        </p:spPr>
        <p:txBody>
          <a:bodyPr/>
          <a:lstStyle>
            <a:lvl1pPr marL="0" indent="0" algn="r">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Session Code</a:t>
            </a:r>
          </a:p>
        </p:txBody>
      </p:sp>
      <p:sp>
        <p:nvSpPr>
          <p:cNvPr id="15" name="Text Placeholder 16"/>
          <p:cNvSpPr>
            <a:spLocks noGrp="1"/>
          </p:cNvSpPr>
          <p:nvPr>
            <p:ph type="body" sz="quarter" idx="14" hasCustomPrompt="1"/>
          </p:nvPr>
        </p:nvSpPr>
        <p:spPr>
          <a:xfrm>
            <a:off x="206010" y="6026444"/>
            <a:ext cx="2742967" cy="392415"/>
          </a:xfrm>
        </p:spPr>
        <p:txBody>
          <a:bodyPr/>
          <a:lstStyle>
            <a:lvl1pPr marL="0" indent="0" algn="l">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342871" y="479425"/>
            <a:ext cx="1087362" cy="306604"/>
          </a:xfrm>
          <a:prstGeom prst="rect">
            <a:avLst/>
          </a:prstGeom>
        </p:spPr>
      </p:pic>
    </p:spTree>
    <p:extLst>
      <p:ext uri="{BB962C8B-B14F-4D97-AF65-F5344CB8AC3E}">
        <p14:creationId xmlns:p14="http://schemas.microsoft.com/office/powerpoint/2010/main" val="322805235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p:ext uri="{DCECCB84-F9BA-43D5-87BE-67443E8EF086}">
      <p15:sldGuideLst xmlns:p15="http://schemas.microsoft.com/office/powerpoint/2012/main">
        <p15:guide id="4" orient="horz" pos="4406">
          <p15:clr>
            <a:srgbClr val="C35E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7388" y="3505774"/>
            <a:ext cx="4799002" cy="1830388"/>
          </a:xfrm>
          <a:noFill/>
        </p:spPr>
        <p:txBody>
          <a:bodyPr lIns="146304" tIns="109728" rIns="146304" bIns="109728">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6010" y="1668482"/>
            <a:ext cx="7543110" cy="1837298"/>
          </a:xfrm>
          <a:noFill/>
        </p:spPr>
        <p:txBody>
          <a:bodyPr lIns="146304" tIns="91440" rIns="146304" bIns="91440" anchor="t" anchorCtr="0"/>
          <a:lstStyle>
            <a:lvl1pPr>
              <a:defRPr sz="4499" spc="-75"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2381" y="4395789"/>
            <a:ext cx="9324182"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6377519" y="285944"/>
            <a:ext cx="2742967" cy="392415"/>
          </a:xfrm>
        </p:spPr>
        <p:txBody>
          <a:bodyPr/>
          <a:lstStyle>
            <a:lvl1pPr marL="0" indent="0" algn="r">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Session Code</a:t>
            </a:r>
          </a:p>
        </p:txBody>
      </p:sp>
      <p:sp>
        <p:nvSpPr>
          <p:cNvPr id="10" name="Text Placeholder 16"/>
          <p:cNvSpPr>
            <a:spLocks noGrp="1"/>
          </p:cNvSpPr>
          <p:nvPr>
            <p:ph type="body" sz="quarter" idx="14" hasCustomPrompt="1"/>
          </p:nvPr>
        </p:nvSpPr>
        <p:spPr>
          <a:xfrm>
            <a:off x="210020" y="6045468"/>
            <a:ext cx="2742967" cy="392415"/>
          </a:xfrm>
        </p:spPr>
        <p:txBody>
          <a:bodyPr/>
          <a:lstStyle>
            <a:lvl1pPr marL="0" indent="0" algn="l">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342871" y="479425"/>
            <a:ext cx="1087362" cy="306604"/>
          </a:xfrm>
          <a:prstGeom prst="rect">
            <a:avLst/>
          </a:prstGeom>
        </p:spPr>
      </p:pic>
    </p:spTree>
    <p:extLst>
      <p:ext uri="{BB962C8B-B14F-4D97-AF65-F5344CB8AC3E}">
        <p14:creationId xmlns:p14="http://schemas.microsoft.com/office/powerpoint/2010/main" val="9215989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765605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5961" y="1212850"/>
            <a:ext cx="8914642" cy="1565044"/>
          </a:xfrm>
        </p:spPr>
        <p:txBody>
          <a:bodyPr/>
          <a:lstStyle>
            <a:lvl1pPr marL="0" indent="0">
              <a:buNone/>
              <a:defRPr>
                <a:gradFill>
                  <a:gsLst>
                    <a:gs pos="1250">
                      <a:schemeClr val="tx2"/>
                    </a:gs>
                    <a:gs pos="99000">
                      <a:schemeClr val="tx2"/>
                    </a:gs>
                  </a:gsLst>
                  <a:lin ang="5400000" scaled="0"/>
                </a:gradFill>
              </a:defRPr>
            </a:lvl1pPr>
            <a:lvl2pPr marL="0" indent="0">
              <a:buFontTx/>
              <a:buNone/>
              <a:defRPr sz="1500"/>
            </a:lvl2pPr>
            <a:lvl3pPr marL="171427" indent="0">
              <a:buNone/>
              <a:defRPr/>
            </a:lvl3pPr>
            <a:lvl4pPr marL="342854" indent="0">
              <a:buNone/>
              <a:defRPr/>
            </a:lvl4pPr>
            <a:lvl5pPr marL="51428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096765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89431"/>
            <a:ext cx="8768201"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5961" y="1212850"/>
            <a:ext cx="8914642" cy="1565044"/>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71427" indent="0">
              <a:buNone/>
              <a:defRPr/>
            </a:lvl3pPr>
            <a:lvl4pPr marL="342854" indent="0">
              <a:buNone/>
              <a:defRPr/>
            </a:lvl4pPr>
            <a:lvl5pPr marL="51428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0906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1" y="1212851"/>
            <a:ext cx="8914642" cy="1615827"/>
          </a:xfrm>
        </p:spPr>
        <p:txBody>
          <a:bodyPr>
            <a:spAutoFit/>
          </a:bodyPr>
          <a:lstStyle>
            <a:lvl1pPr>
              <a:defRPr sz="3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940494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1" y="1212851"/>
            <a:ext cx="8914642" cy="1615827"/>
          </a:xfrm>
        </p:spPr>
        <p:txBody>
          <a:bodyPr>
            <a:spAutoFit/>
          </a:bodyPr>
          <a:lstStyle>
            <a:lvl1pPr>
              <a:defRPr sz="3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117974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49"/>
            <a:ext cx="4114449" cy="1481944"/>
          </a:xfrm>
        </p:spPr>
        <p:txBody>
          <a:bodyPr wrap="square">
            <a:spAutoFit/>
          </a:bodyPr>
          <a:lstStyle>
            <a:lvl1pPr marL="0" indent="0">
              <a:spcBef>
                <a:spcPts val="918"/>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49"/>
            <a:ext cx="4114449" cy="1481944"/>
          </a:xfrm>
        </p:spPr>
        <p:txBody>
          <a:bodyPr wrap="square">
            <a:spAutoFit/>
          </a:bodyPr>
          <a:lstStyle>
            <a:lvl1pPr marL="0" indent="0">
              <a:spcBef>
                <a:spcPts val="918"/>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28182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49"/>
            <a:ext cx="4114449" cy="1481944"/>
          </a:xfrm>
        </p:spPr>
        <p:txBody>
          <a:bodyPr wrap="square">
            <a:spAutoFit/>
          </a:bodyPr>
          <a:lstStyle>
            <a:lvl1pPr marL="0" indent="0">
              <a:spcBef>
                <a:spcPts val="918"/>
              </a:spcBef>
              <a:buClr>
                <a:schemeClr val="tx1"/>
              </a:buClr>
              <a:buFont typeface="Wingdings" pitchFamily="2" charset="2"/>
              <a:buNone/>
              <a:defRPr sz="24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49"/>
            <a:ext cx="4114449" cy="1481944"/>
          </a:xfrm>
        </p:spPr>
        <p:txBody>
          <a:bodyPr wrap="square">
            <a:spAutoFit/>
          </a:bodyPr>
          <a:lstStyle>
            <a:lvl1pPr marL="0" indent="0">
              <a:spcBef>
                <a:spcPts val="918"/>
              </a:spcBef>
              <a:buClr>
                <a:schemeClr val="tx1"/>
              </a:buClr>
              <a:buFont typeface="Wingdings" pitchFamily="2" charset="2"/>
              <a:buNone/>
              <a:defRPr sz="24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035299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50"/>
            <a:ext cx="4114449" cy="1532727"/>
          </a:xfrm>
        </p:spPr>
        <p:txBody>
          <a:bodyPr wrap="square">
            <a:spAutoFit/>
          </a:bodyPr>
          <a:lstStyle>
            <a:lvl1pPr marL="215475" indent="-215475">
              <a:spcBef>
                <a:spcPts val="918"/>
              </a:spcBef>
              <a:buClr>
                <a:schemeClr val="tx2"/>
              </a:buClr>
              <a:buFont typeface="Arial" pitchFamily="34" charset="0"/>
              <a:buChar char="•"/>
              <a:defRPr sz="2400">
                <a:gradFill>
                  <a:gsLst>
                    <a:gs pos="1250">
                      <a:schemeClr val="tx2"/>
                    </a:gs>
                    <a:gs pos="99000">
                      <a:schemeClr val="tx2"/>
                    </a:gs>
                  </a:gsLst>
                  <a:lin ang="5400000" scaled="0"/>
                </a:gradFill>
              </a:defRPr>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50"/>
            <a:ext cx="4114449" cy="1532727"/>
          </a:xfrm>
        </p:spPr>
        <p:txBody>
          <a:bodyPr wrap="square">
            <a:spAutoFit/>
          </a:bodyPr>
          <a:lstStyle>
            <a:lvl1pPr marL="215475" indent="-215475">
              <a:spcBef>
                <a:spcPts val="918"/>
              </a:spcBef>
              <a:buClr>
                <a:schemeClr val="tx2"/>
              </a:buClr>
              <a:buFont typeface="Arial" pitchFamily="34" charset="0"/>
              <a:buChar char="•"/>
              <a:defRPr sz="2400">
                <a:gradFill>
                  <a:gsLst>
                    <a:gs pos="1250">
                      <a:schemeClr val="tx2"/>
                    </a:gs>
                    <a:gs pos="99000">
                      <a:schemeClr val="tx2"/>
                    </a:gs>
                  </a:gsLst>
                  <a:lin ang="5400000" scaled="0"/>
                </a:gradFill>
              </a:defRPr>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00373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50"/>
            <a:ext cx="4114449" cy="1532727"/>
          </a:xfrm>
        </p:spPr>
        <p:txBody>
          <a:bodyPr wrap="square">
            <a:spAutoFit/>
          </a:bodyPr>
          <a:lstStyle>
            <a:lvl1pPr marL="215475" indent="-215475">
              <a:spcBef>
                <a:spcPts val="918"/>
              </a:spcBef>
              <a:buClr>
                <a:schemeClr val="tx1"/>
              </a:buClr>
              <a:buFont typeface="Arial" pitchFamily="34" charset="0"/>
              <a:buChar char="•"/>
              <a:defRPr sz="24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50"/>
            <a:ext cx="4114449" cy="1532727"/>
          </a:xfrm>
        </p:spPr>
        <p:txBody>
          <a:bodyPr wrap="square">
            <a:spAutoFit/>
          </a:bodyPr>
          <a:lstStyle>
            <a:lvl1pPr marL="215475" indent="-215475">
              <a:spcBef>
                <a:spcPts val="918"/>
              </a:spcBef>
              <a:buClr>
                <a:schemeClr val="tx1"/>
              </a:buClr>
              <a:buFont typeface="Arial" pitchFamily="34" charset="0"/>
              <a:buChar char="•"/>
              <a:defRPr sz="24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699735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832979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1209973"/>
            <a:ext cx="5485933" cy="932435"/>
          </a:xfrm>
          <a:noFill/>
        </p:spPr>
        <p:txBody>
          <a:bodyPr wrap="square" tIns="91440" bIns="91440" anchor="t" anchorCtr="0">
            <a:spAutoFit/>
          </a:bodyPr>
          <a:lstStyle>
            <a:lvl1pPr>
              <a:defRPr sz="5399" spc="-75"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5962" y="4868863"/>
            <a:ext cx="5485932" cy="627864"/>
          </a:xfrm>
          <a:noFill/>
        </p:spPr>
        <p:txBody>
          <a:bodyPr wrap="square"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817591" y="304193"/>
            <a:ext cx="3306799" cy="6400800"/>
          </a:xfrm>
          <a:prstGeom prst="rect">
            <a:avLst/>
          </a:prstGeom>
        </p:spPr>
      </p:pic>
      <p:sp>
        <p:nvSpPr>
          <p:cNvPr id="8"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979627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2" y="1209973"/>
            <a:ext cx="3428167" cy="932435"/>
          </a:xfrm>
          <a:noFill/>
        </p:spPr>
        <p:txBody>
          <a:bodyPr wrap="square" tIns="91440" bIns="91440" anchor="t" anchorCtr="0">
            <a:spAutoFit/>
          </a:bodyPr>
          <a:lstStyle>
            <a:lvl1pPr>
              <a:defRPr sz="5399" spc="-75"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476" y="3410197"/>
            <a:ext cx="9326087" cy="3104213"/>
          </a:xfrm>
          <a:prstGeom prst="rect">
            <a:avLst/>
          </a:prstGeom>
        </p:spPr>
      </p:pic>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253070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89431"/>
            <a:ext cx="8777288"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2"/>
            <a:ext cx="8914642" cy="932435"/>
          </a:xfrm>
          <a:noFill/>
        </p:spPr>
        <p:txBody>
          <a:bodyPr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942978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2"/>
            <a:ext cx="8914642" cy="932435"/>
          </a:xfrm>
          <a:noFill/>
        </p:spPr>
        <p:txBody>
          <a:bodyPr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105888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84785" y="2125663"/>
            <a:ext cx="6164335" cy="1828800"/>
          </a:xfrm>
        </p:spPr>
        <p:txBody>
          <a:bodyPr/>
          <a:lstStyle>
            <a:lvl1pPr>
              <a:defRPr sz="4499" baseline="0"/>
            </a:lvl1pPr>
          </a:lstStyle>
          <a:p>
            <a:r>
              <a:rPr lang="en-US"/>
              <a:t>Click to edit Master title style</a:t>
            </a:r>
            <a:endParaRPr lang="en-US" dirty="0"/>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48523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91703" y="2125664"/>
            <a:ext cx="7543158" cy="917575"/>
          </a:xfrm>
        </p:spPr>
        <p:txBody>
          <a:bodyPr/>
          <a:lstStyle>
            <a:lvl1pPr marL="211903" indent="-211903">
              <a:tabLst>
                <a:tab pos="211903" algn="l"/>
              </a:tabLst>
              <a:defRPr sz="44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320411" y="4868847"/>
            <a:ext cx="4114450" cy="849463"/>
          </a:xfrm>
        </p:spPr>
        <p:txBody>
          <a:bodyPr/>
          <a:lstStyle>
            <a:lvl1pPr marL="0" indent="0" algn="r">
              <a:spcBef>
                <a:spcPts val="0"/>
              </a:spcBef>
              <a:buNone/>
              <a:defRPr sz="24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092203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2" y="1241427"/>
            <a:ext cx="4114449" cy="1555554"/>
          </a:xfrm>
        </p:spPr>
        <p:txBody>
          <a:bodyPr>
            <a:spAutoFit/>
          </a:bodyPr>
          <a:lstStyle>
            <a:lvl1pPr>
              <a:defRPr sz="494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664472" y="1"/>
            <a:ext cx="4662091"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2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393662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942614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75382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9326563"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6" tIns="34976" rIns="34976" bIns="34976" numCol="1" spcCol="0" rtlCol="0" fromWordArt="0" anchor="ctr" anchorCtr="0" forceAA="0" compatLnSpc="1">
            <a:prstTxWarp prst="textNoShape">
              <a:avLst/>
            </a:prstTxWarp>
            <a:noAutofit/>
          </a:bodyPr>
          <a:lstStyle/>
          <a:p>
            <a:pPr algn="ctr" defTabSz="699261" fontAlgn="base">
              <a:spcBef>
                <a:spcPct val="0"/>
              </a:spcBef>
              <a:spcAft>
                <a:spcPct val="0"/>
              </a:spcAft>
            </a:pPr>
            <a:endParaRPr lang="en-US" sz="13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5961" y="1221158"/>
            <a:ext cx="8914641" cy="1543115"/>
          </a:xfrm>
        </p:spPr>
        <p:txBody>
          <a:bodyPr/>
          <a:lstStyle>
            <a:lvl1pPr marL="0" indent="0">
              <a:buNone/>
              <a:defRPr sz="247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988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38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108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8814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833769"/>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5961" y="6294477"/>
            <a:ext cx="8914641" cy="302372"/>
          </a:xfrm>
          <a:prstGeom prst="rect">
            <a:avLst/>
          </a:prstGeom>
          <a:noFill/>
          <a:ln w="12700">
            <a:noFill/>
            <a:miter lim="800000"/>
            <a:headEnd type="none" w="sm" len="sm"/>
            <a:tailEnd type="none" w="sm" len="sm"/>
          </a:ln>
          <a:effectLst/>
        </p:spPr>
        <p:txBody>
          <a:bodyPr vert="horz" wrap="square" lIns="137148" tIns="109719" rIns="137148" bIns="109719" numCol="1" anchor="t" anchorCtr="0" compatLnSpc="1">
            <a:prstTxWarp prst="textNoShape">
              <a:avLst/>
            </a:prstTxWarp>
            <a:spAutoFit/>
          </a:bodyPr>
          <a:lstStyle/>
          <a:p>
            <a:pPr defTabSz="699124" eaLnBrk="0" hangingPunct="0"/>
            <a:r>
              <a:rPr lang="en-US" sz="525"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342871" y="479425"/>
            <a:ext cx="1087362" cy="306604"/>
          </a:xfrm>
          <a:prstGeom prst="rect">
            <a:avLst/>
          </a:prstGeom>
        </p:spPr>
      </p:pic>
    </p:spTree>
    <p:extLst>
      <p:ext uri="{BB962C8B-B14F-4D97-AF65-F5344CB8AC3E}">
        <p14:creationId xmlns:p14="http://schemas.microsoft.com/office/powerpoint/2010/main" val="3886130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5961" y="1212850"/>
            <a:ext cx="8914642" cy="1878976"/>
          </a:xfrm>
          <a:prstGeom prst="rect">
            <a:avLst/>
          </a:prstGeom>
        </p:spPr>
        <p:txBody>
          <a:bodyPr/>
          <a:lstStyle>
            <a:lvl1pPr marL="217856" indent="-217856">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Arial" pitchFamily="34" charset="0"/>
              <a:buChar char="•"/>
              <a:defRPr sz="21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Arial" pitchFamily="34" charset="0"/>
              <a:buChar char="•"/>
              <a:defRPr sz="15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9326564"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898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0015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Blank Accent 4">
    <p:bg>
      <p:bgPr>
        <a:solidFill>
          <a:srgbClr val="24285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0067878"/>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hasCustomPrompt="1"/>
          </p:nvPr>
        </p:nvSpPr>
        <p:spPr>
          <a:xfrm>
            <a:off x="205962" y="926617"/>
            <a:ext cx="8916415" cy="475515"/>
          </a:xfrm>
        </p:spPr>
        <p:txBody>
          <a:bodyPr wrap="square">
            <a:spAutoFit/>
          </a:bodyPr>
          <a:lstStyle>
            <a:lvl1pPr marL="0" indent="0">
              <a:spcBef>
                <a:spcPts val="918"/>
              </a:spcBef>
              <a:buClr>
                <a:schemeClr val="tx1"/>
              </a:buClr>
              <a:buFont typeface="Wingdings" pitchFamily="2" charset="2"/>
              <a:buNone/>
              <a:defRPr lang="en-US" sz="2100" b="0" kern="1200" cap="none" spc="-76" baseline="0" dirty="0">
                <a:ln w="3175">
                  <a:noFill/>
                </a:ln>
                <a:solidFill>
                  <a:schemeClr val="accent2"/>
                </a:solidFill>
                <a:effectLst/>
                <a:latin typeface="+mj-lt"/>
                <a:ea typeface="+mn-ea"/>
                <a:cs typeface="Segoe UI" pitchFamily="34" charset="0"/>
              </a:defRPr>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dirty="0"/>
              <a:t>Click to edit Master text styles</a:t>
            </a:r>
          </a:p>
        </p:txBody>
      </p:sp>
    </p:spTree>
    <p:extLst>
      <p:ext uri="{BB962C8B-B14F-4D97-AF65-F5344CB8AC3E}">
        <p14:creationId xmlns:p14="http://schemas.microsoft.com/office/powerpoint/2010/main" val="325600257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2_EXAMPLE ONLY: Title with photo">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 y="-990308"/>
            <a:ext cx="9326562" cy="7984834"/>
          </a:xfrm>
          <a:prstGeom prst="rect">
            <a:avLst/>
          </a:prstGeom>
        </p:spPr>
      </p:pic>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72577" y="-7408"/>
            <a:ext cx="1489484" cy="730297"/>
          </a:xfrm>
          <a:prstGeom prst="rect">
            <a:avLst/>
          </a:prstGeom>
        </p:spPr>
      </p:pic>
      <p:pic>
        <p:nvPicPr>
          <p:cNvPr id="15" name="Picture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72577" y="-7408"/>
            <a:ext cx="1489484" cy="730297"/>
          </a:xfrm>
          <a:prstGeom prst="rect">
            <a:avLst/>
          </a:prstGeom>
        </p:spPr>
      </p:pic>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2577" y="-7408"/>
            <a:ext cx="1489484" cy="730297"/>
          </a:xfrm>
          <a:prstGeom prst="rect">
            <a:avLst/>
          </a:prstGeom>
        </p:spPr>
      </p:pic>
    </p:spTree>
    <p:extLst>
      <p:ext uri="{BB962C8B-B14F-4D97-AF65-F5344CB8AC3E}">
        <p14:creationId xmlns:p14="http://schemas.microsoft.com/office/powerpoint/2010/main" val="1448754866"/>
      </p:ext>
    </p:extLst>
  </p:cSld>
  <p:clrMapOvr>
    <a:masterClrMapping/>
  </p:clrMapOvr>
  <p:transition>
    <p:fade/>
  </p:transition>
  <p:extLst>
    <p:ext uri="{DCECCB84-F9BA-43D5-87BE-67443E8EF086}">
      <p15:sldGuideLst xmlns:p15="http://schemas.microsoft.com/office/powerpoint/2012/main">
        <p15:guide id="1" pos="95">
          <p15:clr>
            <a:srgbClr val="5ACBF0"/>
          </p15:clr>
        </p15:guide>
        <p15:guide id="2" pos="670">
          <p15:clr>
            <a:srgbClr val="5ACBF0"/>
          </p15:clr>
        </p15:guide>
        <p15:guide id="3" pos="1246">
          <p15:clr>
            <a:srgbClr val="5ACBF0"/>
          </p15:clr>
        </p15:guide>
        <p15:guide id="4" pos="1824">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4">
          <p15:clr>
            <a:srgbClr val="5ACBF0"/>
          </p15:clr>
        </p15:guide>
        <p15:guide id="12" pos="6432">
          <p15:clr>
            <a:srgbClr val="5ACBF0"/>
          </p15:clr>
        </p15:guide>
        <p15:guide id="13" pos="7008">
          <p15:clr>
            <a:srgbClr val="5ACBF0"/>
          </p15:clr>
        </p15:guide>
        <p15:guide id="14" pos="7583">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342871" y="479425"/>
            <a:ext cx="1087362" cy="306604"/>
          </a:xfrm>
          <a:prstGeom prst="rect">
            <a:avLst/>
          </a:prstGeom>
        </p:spPr>
      </p:pic>
      <p:pic>
        <p:nvPicPr>
          <p:cNvPr id="7" name="Picture 6"/>
          <p:cNvPicPr>
            <a:picLocks noChangeAspect="1"/>
          </p:cNvPicPr>
          <p:nvPr userDrawn="1"/>
        </p:nvPicPr>
        <p:blipFill>
          <a:blip r:embed="rId4"/>
          <a:stretch>
            <a:fillRect/>
          </a:stretch>
        </p:blipFill>
        <p:spPr>
          <a:xfrm>
            <a:off x="3621375" y="493939"/>
            <a:ext cx="5351013" cy="1325880"/>
          </a:xfrm>
          <a:prstGeom prst="rect">
            <a:avLst/>
          </a:prstGeom>
        </p:spPr>
      </p:pic>
    </p:spTree>
    <p:extLst>
      <p:ext uri="{BB962C8B-B14F-4D97-AF65-F5344CB8AC3E}">
        <p14:creationId xmlns:p14="http://schemas.microsoft.com/office/powerpoint/2010/main" val="524418162"/>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9326087"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2381" y="4395789"/>
            <a:ext cx="9324182" cy="2601913"/>
          </a:xfrm>
          <a:prstGeom prst="rect">
            <a:avLst/>
          </a:prstGeom>
          <a:solidFill>
            <a:srgbClr val="4DA0E2"/>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0" name="Rectangle 7"/>
          <p:cNvSpPr>
            <a:spLocks noChangeArrowheads="1"/>
          </p:cNvSpPr>
          <p:nvPr userDrawn="1"/>
        </p:nvSpPr>
        <p:spPr bwMode="auto">
          <a:xfrm>
            <a:off x="0" y="5843589"/>
            <a:ext cx="9324183" cy="1154113"/>
          </a:xfrm>
          <a:prstGeom prst="rect">
            <a:avLst/>
          </a:prstGeom>
          <a:solidFill>
            <a:srgbClr val="00188F"/>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1" name="Rectangle 8"/>
          <p:cNvSpPr>
            <a:spLocks noChangeArrowheads="1"/>
          </p:cNvSpPr>
          <p:nvPr userDrawn="1"/>
        </p:nvSpPr>
        <p:spPr bwMode="auto">
          <a:xfrm>
            <a:off x="2382" y="3409951"/>
            <a:ext cx="9321802"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3" name="Rectangle 12"/>
          <p:cNvSpPr/>
          <p:nvPr userDrawn="1"/>
        </p:nvSpPr>
        <p:spPr bwMode="white">
          <a:xfrm>
            <a:off x="0" y="0"/>
            <a:ext cx="9326087" cy="699516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07388" y="3551231"/>
            <a:ext cx="4799002" cy="1830388"/>
          </a:xfrm>
          <a:noFill/>
        </p:spPr>
        <p:txBody>
          <a:bodyPr lIns="146304" tIns="109728" rIns="146304" bIns="109728">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6010" y="1713939"/>
            <a:ext cx="7543110" cy="1837298"/>
          </a:xfrm>
          <a:noFill/>
        </p:spPr>
        <p:txBody>
          <a:bodyPr lIns="146304" tIns="91440" rIns="146304" bIns="91440" anchor="t" anchorCtr="0"/>
          <a:lstStyle>
            <a:lvl1pPr>
              <a:defRPr sz="4499" spc="-75"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2381" y="4395789"/>
            <a:ext cx="9324182"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6360762" y="294305"/>
            <a:ext cx="2742967" cy="392415"/>
          </a:xfrm>
        </p:spPr>
        <p:txBody>
          <a:bodyPr/>
          <a:lstStyle>
            <a:lvl1pPr marL="0" indent="0" algn="r">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Session Code</a:t>
            </a:r>
          </a:p>
        </p:txBody>
      </p:sp>
      <p:sp>
        <p:nvSpPr>
          <p:cNvPr id="15" name="Text Placeholder 16"/>
          <p:cNvSpPr>
            <a:spLocks noGrp="1"/>
          </p:cNvSpPr>
          <p:nvPr>
            <p:ph type="body" sz="quarter" idx="14" hasCustomPrompt="1"/>
          </p:nvPr>
        </p:nvSpPr>
        <p:spPr>
          <a:xfrm>
            <a:off x="206010" y="6026444"/>
            <a:ext cx="2742967" cy="392415"/>
          </a:xfrm>
        </p:spPr>
        <p:txBody>
          <a:bodyPr/>
          <a:lstStyle>
            <a:lvl1pPr marL="0" indent="0" algn="l">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342871" y="479425"/>
            <a:ext cx="1087362" cy="306604"/>
          </a:xfrm>
          <a:prstGeom prst="rect">
            <a:avLst/>
          </a:prstGeom>
        </p:spPr>
      </p:pic>
    </p:spTree>
    <p:extLst>
      <p:ext uri="{BB962C8B-B14F-4D97-AF65-F5344CB8AC3E}">
        <p14:creationId xmlns:p14="http://schemas.microsoft.com/office/powerpoint/2010/main" val="224903221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100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950"/>
                                        <p:tgtEl>
                                          <p:spTgt spid="14"/>
                                        </p:tgtEl>
                                      </p:cBhvr>
                                    </p:animEffect>
                                  </p:childTnLst>
                                </p:cTn>
                              </p:par>
                              <p:par>
                                <p:cTn id="39" presetID="63" presetClass="path" presetSubtype="0" decel="100000" fill="hold" grpId="1" nodeType="withEffect">
                                  <p:stCondLst>
                                    <p:cond delay="1000"/>
                                  </p:stCondLst>
                                  <p:childTnLst>
                                    <p:animMotion origin="layout" path="M -0.01455 -1.34362E-6 L -3.90605E-7 -1.34362E-6 " pathEditMode="relative" rAng="0" ptsTypes="AA">
                                      <p:cBhvr>
                                        <p:cTn id="40" dur="950" fill="hold"/>
                                        <p:tgtEl>
                                          <p:spTgt spid="14"/>
                                        </p:tgtEl>
                                        <p:attrNameLst>
                                          <p:attrName>ppt_x</p:attrName>
                                          <p:attrName>ppt_y</p:attrName>
                                        </p:attrNameLst>
                                      </p:cBhvr>
                                      <p:rCtr x="728" y="0"/>
                                    </p:animMotion>
                                  </p:childTnLst>
                                </p:cTn>
                              </p:par>
                              <p:par>
                                <p:cTn id="41" presetID="6" presetClass="emph" presetSubtype="0" accel="100000" autoRev="1" fill="hold" grpId="2" nodeType="withEffect">
                                  <p:stCondLst>
                                    <p:cond delay="300"/>
                                  </p:stCondLst>
                                  <p:childTnLst>
                                    <p:animScale>
                                      <p:cBhvr>
                                        <p:cTn id="42" dur="500" fill="hold"/>
                                        <p:tgtEl>
                                          <p:spTgt spid="14"/>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7"/>
                                        </p:tgtEl>
                                        <p:attrNameLst>
                                          <p:attrName>style.visibility</p:attrName>
                                        </p:attrNameLst>
                                      </p:cBhvr>
                                      <p:to>
                                        <p:strVal val="visible"/>
                                      </p:to>
                                    </p:set>
                                    <p:animEffect transition="in" filter="fade">
                                      <p:cBhvr>
                                        <p:cTn id="45" dur="950"/>
                                        <p:tgtEl>
                                          <p:spTgt spid="17"/>
                                        </p:tgtEl>
                                      </p:cBhvr>
                                    </p:animEffect>
                                  </p:childTnLst>
                                </p:cTn>
                              </p:par>
                              <p:par>
                                <p:cTn id="46" presetID="63" presetClass="path" presetSubtype="0" decel="100000" fill="hold" grpId="1" nodeType="withEffect">
                                  <p:stCondLst>
                                    <p:cond delay="700"/>
                                  </p:stCondLst>
                                  <p:childTnLst>
                                    <p:animMotion origin="layout" path="M -0.01455 2.13345E-6 L 1.62369E-6 2.13345E-6 " pathEditMode="relative" rAng="0" ptsTypes="AA">
                                      <p:cBhvr>
                                        <p:cTn id="47" dur="950" fill="hold"/>
                                        <p:tgtEl>
                                          <p:spTgt spid="17"/>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7"/>
                                        </p:tgtEl>
                                      </p:cBhvr>
                                      <p:by x="95000" y="95000"/>
                                    </p:animScale>
                                  </p:childTnLst>
                                </p:cTn>
                              </p:par>
                              <p:par>
                                <p:cTn id="50" presetID="10" presetClass="entr" presetSubtype="0" fill="hold" grpId="0" nodeType="withEffect">
                                  <p:stCondLst>
                                    <p:cond delay="70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950"/>
                                        <p:tgtEl>
                                          <p:spTgt spid="15"/>
                                        </p:tgtEl>
                                      </p:cBhvr>
                                    </p:animEffect>
                                  </p:childTnLst>
                                </p:cTn>
                              </p:par>
                              <p:par>
                                <p:cTn id="53" presetID="63" presetClass="path" presetSubtype="0" decel="100000" fill="hold" grpId="1" nodeType="withEffect">
                                  <p:stCondLst>
                                    <p:cond delay="700"/>
                                  </p:stCondLst>
                                  <p:childTnLst>
                                    <p:animMotion origin="layout" path="M -0.01455 -2.09714E-6 L -4.54174E-6 -2.09714E-6 " pathEditMode="relative" rAng="0" ptsTypes="AA">
                                      <p:cBhvr>
                                        <p:cTn id="54" dur="950" fill="hold"/>
                                        <p:tgtEl>
                                          <p:spTgt spid="15"/>
                                        </p:tgtEl>
                                        <p:attrNameLst>
                                          <p:attrName>ppt_x</p:attrName>
                                          <p:attrName>ppt_y</p:attrName>
                                        </p:attrNameLst>
                                      </p:cBhvr>
                                      <p:rCtr x="728" y="0"/>
                                    </p:animMotion>
                                  </p:childTnLst>
                                </p:cTn>
                              </p:par>
                              <p:par>
                                <p:cTn id="55" presetID="6" presetClass="emph" presetSubtype="0" accel="100000" autoRev="1" fill="hold" grpId="2" nodeType="withEffect">
                                  <p:stCondLst>
                                    <p:cond delay="0"/>
                                  </p:stCondLst>
                                  <p:childTnLst>
                                    <p:animScale>
                                      <p:cBhvr>
                                        <p:cTn id="56"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p:ext uri="{DCECCB84-F9BA-43D5-87BE-67443E8EF086}">
      <p15:sldGuideLst xmlns:p15="http://schemas.microsoft.com/office/powerpoint/2012/main">
        <p15:guide id="4" orient="horz" pos="4406">
          <p15:clr>
            <a:srgbClr val="C35E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7388" y="3505774"/>
            <a:ext cx="4799002" cy="1830388"/>
          </a:xfrm>
          <a:noFill/>
        </p:spPr>
        <p:txBody>
          <a:bodyPr lIns="146304" tIns="109728" rIns="146304" bIns="109728">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6010" y="1668482"/>
            <a:ext cx="7543110" cy="1837298"/>
          </a:xfrm>
          <a:noFill/>
        </p:spPr>
        <p:txBody>
          <a:bodyPr lIns="146304" tIns="91440" rIns="146304" bIns="91440" anchor="t" anchorCtr="0"/>
          <a:lstStyle>
            <a:lvl1pPr>
              <a:defRPr sz="4499" spc="-75"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2381" y="4395789"/>
            <a:ext cx="9324182"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6377519" y="285944"/>
            <a:ext cx="2742967" cy="392415"/>
          </a:xfrm>
        </p:spPr>
        <p:txBody>
          <a:bodyPr/>
          <a:lstStyle>
            <a:lvl1pPr marL="0" indent="0" algn="r">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Session Code</a:t>
            </a:r>
          </a:p>
        </p:txBody>
      </p:sp>
      <p:sp>
        <p:nvSpPr>
          <p:cNvPr id="10" name="Text Placeholder 16"/>
          <p:cNvSpPr>
            <a:spLocks noGrp="1"/>
          </p:cNvSpPr>
          <p:nvPr>
            <p:ph type="body" sz="quarter" idx="14" hasCustomPrompt="1"/>
          </p:nvPr>
        </p:nvSpPr>
        <p:spPr>
          <a:xfrm>
            <a:off x="210020" y="6045468"/>
            <a:ext cx="2742967" cy="392415"/>
          </a:xfrm>
        </p:spPr>
        <p:txBody>
          <a:bodyPr/>
          <a:lstStyle>
            <a:lvl1pPr marL="0" indent="0" algn="l">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342871" y="479425"/>
            <a:ext cx="1087362" cy="306604"/>
          </a:xfrm>
          <a:prstGeom prst="rect">
            <a:avLst/>
          </a:prstGeom>
        </p:spPr>
      </p:pic>
    </p:spTree>
    <p:extLst>
      <p:ext uri="{BB962C8B-B14F-4D97-AF65-F5344CB8AC3E}">
        <p14:creationId xmlns:p14="http://schemas.microsoft.com/office/powerpoint/2010/main" val="32082072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292101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5961" y="1212850"/>
            <a:ext cx="8914642" cy="1565044"/>
          </a:xfrm>
        </p:spPr>
        <p:txBody>
          <a:bodyPr/>
          <a:lstStyle>
            <a:lvl1pPr marL="0" indent="0">
              <a:buNone/>
              <a:defRPr>
                <a:gradFill>
                  <a:gsLst>
                    <a:gs pos="1250">
                      <a:schemeClr val="tx2"/>
                    </a:gs>
                    <a:gs pos="99000">
                      <a:schemeClr val="tx2"/>
                    </a:gs>
                  </a:gsLst>
                  <a:lin ang="5400000" scaled="0"/>
                </a:gradFill>
              </a:defRPr>
            </a:lvl1pPr>
            <a:lvl2pPr marL="0" indent="0">
              <a:buFontTx/>
              <a:buNone/>
              <a:defRPr sz="1500"/>
            </a:lvl2pPr>
            <a:lvl3pPr marL="171427" indent="0">
              <a:buNone/>
              <a:defRPr/>
            </a:lvl3pPr>
            <a:lvl4pPr marL="342854" indent="0">
              <a:buNone/>
              <a:defRPr/>
            </a:lvl4pPr>
            <a:lvl5pPr marL="51428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767299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5961" y="1212850"/>
            <a:ext cx="8914642" cy="1565044"/>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71427" indent="0">
              <a:buNone/>
              <a:defRPr/>
            </a:lvl3pPr>
            <a:lvl4pPr marL="342854" indent="0">
              <a:buNone/>
              <a:defRPr/>
            </a:lvl4pPr>
            <a:lvl5pPr marL="51428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423649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1" y="1212851"/>
            <a:ext cx="8914642" cy="1615827"/>
          </a:xfrm>
        </p:spPr>
        <p:txBody>
          <a:bodyPr>
            <a:spAutoFit/>
          </a:bodyPr>
          <a:lstStyle>
            <a:lvl1pPr>
              <a:defRPr sz="3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756961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1" y="1212851"/>
            <a:ext cx="8914642" cy="1615827"/>
          </a:xfrm>
        </p:spPr>
        <p:txBody>
          <a:bodyPr>
            <a:spAutoFit/>
          </a:bodyPr>
          <a:lstStyle>
            <a:lvl1pPr>
              <a:defRPr sz="3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65660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49"/>
            <a:ext cx="4114449" cy="1481944"/>
          </a:xfrm>
        </p:spPr>
        <p:txBody>
          <a:bodyPr wrap="square">
            <a:spAutoFit/>
          </a:bodyPr>
          <a:lstStyle>
            <a:lvl1pPr marL="0" indent="0">
              <a:spcBef>
                <a:spcPts val="918"/>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49"/>
            <a:ext cx="4114449" cy="1481944"/>
          </a:xfrm>
        </p:spPr>
        <p:txBody>
          <a:bodyPr wrap="square">
            <a:spAutoFit/>
          </a:bodyPr>
          <a:lstStyle>
            <a:lvl1pPr marL="0" indent="0">
              <a:spcBef>
                <a:spcPts val="918"/>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943496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49"/>
            <a:ext cx="4114449" cy="1481944"/>
          </a:xfrm>
        </p:spPr>
        <p:txBody>
          <a:bodyPr wrap="square">
            <a:spAutoFit/>
          </a:bodyPr>
          <a:lstStyle>
            <a:lvl1pPr marL="0" indent="0">
              <a:spcBef>
                <a:spcPts val="918"/>
              </a:spcBef>
              <a:buClr>
                <a:schemeClr val="tx1"/>
              </a:buClr>
              <a:buFont typeface="Wingdings" pitchFamily="2" charset="2"/>
              <a:buNone/>
              <a:defRPr sz="24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49"/>
            <a:ext cx="4114449" cy="1481944"/>
          </a:xfrm>
        </p:spPr>
        <p:txBody>
          <a:bodyPr wrap="square">
            <a:spAutoFit/>
          </a:bodyPr>
          <a:lstStyle>
            <a:lvl1pPr marL="0" indent="0">
              <a:spcBef>
                <a:spcPts val="918"/>
              </a:spcBef>
              <a:buClr>
                <a:schemeClr val="tx1"/>
              </a:buClr>
              <a:buFont typeface="Wingdings" pitchFamily="2" charset="2"/>
              <a:buNone/>
              <a:defRPr sz="24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1104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50"/>
            <a:ext cx="4114449" cy="1532727"/>
          </a:xfrm>
        </p:spPr>
        <p:txBody>
          <a:bodyPr wrap="square">
            <a:spAutoFit/>
          </a:bodyPr>
          <a:lstStyle>
            <a:lvl1pPr marL="215475" indent="-215475">
              <a:spcBef>
                <a:spcPts val="918"/>
              </a:spcBef>
              <a:buClr>
                <a:schemeClr val="tx2"/>
              </a:buClr>
              <a:buFont typeface="Arial" pitchFamily="34" charset="0"/>
              <a:buChar char="•"/>
              <a:defRPr sz="2400">
                <a:gradFill>
                  <a:gsLst>
                    <a:gs pos="1250">
                      <a:schemeClr val="tx2"/>
                    </a:gs>
                    <a:gs pos="99000">
                      <a:schemeClr val="tx2"/>
                    </a:gs>
                  </a:gsLst>
                  <a:lin ang="5400000" scaled="0"/>
                </a:gradFill>
              </a:defRPr>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50"/>
            <a:ext cx="4114449" cy="1532727"/>
          </a:xfrm>
        </p:spPr>
        <p:txBody>
          <a:bodyPr wrap="square">
            <a:spAutoFit/>
          </a:bodyPr>
          <a:lstStyle>
            <a:lvl1pPr marL="215475" indent="-215475">
              <a:spcBef>
                <a:spcPts val="918"/>
              </a:spcBef>
              <a:buClr>
                <a:schemeClr val="tx2"/>
              </a:buClr>
              <a:buFont typeface="Arial" pitchFamily="34" charset="0"/>
              <a:buChar char="•"/>
              <a:defRPr sz="2400">
                <a:gradFill>
                  <a:gsLst>
                    <a:gs pos="1250">
                      <a:schemeClr val="tx2"/>
                    </a:gs>
                    <a:gs pos="99000">
                      <a:schemeClr val="tx2"/>
                    </a:gs>
                  </a:gsLst>
                  <a:lin ang="5400000" scaled="0"/>
                </a:gradFill>
              </a:defRPr>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36014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50"/>
            <a:ext cx="4114449" cy="1532727"/>
          </a:xfrm>
        </p:spPr>
        <p:txBody>
          <a:bodyPr wrap="square">
            <a:spAutoFit/>
          </a:bodyPr>
          <a:lstStyle>
            <a:lvl1pPr marL="215475" indent="-215475">
              <a:spcBef>
                <a:spcPts val="918"/>
              </a:spcBef>
              <a:buClr>
                <a:schemeClr val="tx1"/>
              </a:buClr>
              <a:buFont typeface="Arial" pitchFamily="34" charset="0"/>
              <a:buChar char="•"/>
              <a:defRPr sz="24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50"/>
            <a:ext cx="4114449" cy="1532727"/>
          </a:xfrm>
        </p:spPr>
        <p:txBody>
          <a:bodyPr wrap="square">
            <a:spAutoFit/>
          </a:bodyPr>
          <a:lstStyle>
            <a:lvl1pPr marL="215475" indent="-215475">
              <a:spcBef>
                <a:spcPts val="918"/>
              </a:spcBef>
              <a:buClr>
                <a:schemeClr val="tx1"/>
              </a:buClr>
              <a:buFont typeface="Arial" pitchFamily="34" charset="0"/>
              <a:buChar char="•"/>
              <a:defRPr sz="24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349469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80366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1209973"/>
            <a:ext cx="5485933" cy="932435"/>
          </a:xfrm>
          <a:noFill/>
        </p:spPr>
        <p:txBody>
          <a:bodyPr wrap="square" tIns="91440" bIns="91440" anchor="t" anchorCtr="0">
            <a:spAutoFit/>
          </a:bodyPr>
          <a:lstStyle>
            <a:lvl1pPr>
              <a:defRPr sz="5399" spc="-75"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5962" y="4868863"/>
            <a:ext cx="5485932" cy="627864"/>
          </a:xfrm>
          <a:noFill/>
        </p:spPr>
        <p:txBody>
          <a:bodyPr wrap="square"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5817591" y="304193"/>
            <a:ext cx="3306799" cy="6400800"/>
          </a:xfrm>
          <a:prstGeom prst="rect">
            <a:avLst/>
          </a:prstGeom>
        </p:spPr>
      </p:pic>
      <p:sp>
        <p:nvSpPr>
          <p:cNvPr id="8"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666998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2" y="1209973"/>
            <a:ext cx="3428167" cy="932435"/>
          </a:xfrm>
          <a:noFill/>
        </p:spPr>
        <p:txBody>
          <a:bodyPr wrap="square" tIns="91440" bIns="91440" anchor="t" anchorCtr="0">
            <a:spAutoFit/>
          </a:bodyPr>
          <a:lstStyle>
            <a:lvl1pPr>
              <a:defRPr sz="5399" spc="-75"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476" y="3410197"/>
            <a:ext cx="9326087" cy="3104213"/>
          </a:xfrm>
          <a:prstGeom prst="rect">
            <a:avLst/>
          </a:prstGeom>
        </p:spPr>
      </p:pic>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70179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2"/>
            <a:ext cx="8914642" cy="932435"/>
          </a:xfrm>
          <a:noFill/>
        </p:spPr>
        <p:txBody>
          <a:bodyPr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32212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2"/>
            <a:ext cx="8914642" cy="932435"/>
          </a:xfrm>
          <a:noFill/>
        </p:spPr>
        <p:txBody>
          <a:bodyPr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346390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84785" y="2125663"/>
            <a:ext cx="6164335" cy="1828800"/>
          </a:xfrm>
        </p:spPr>
        <p:txBody>
          <a:bodyPr/>
          <a:lstStyle>
            <a:lvl1pPr>
              <a:defRPr sz="4499" baseline="0"/>
            </a:lvl1pPr>
          </a:lstStyle>
          <a:p>
            <a:r>
              <a:rPr lang="en-US"/>
              <a:t>Click to edit Master title style</a:t>
            </a:r>
            <a:endParaRPr lang="en-US" dirty="0"/>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26150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91703" y="2125664"/>
            <a:ext cx="7543158" cy="917575"/>
          </a:xfrm>
        </p:spPr>
        <p:txBody>
          <a:bodyPr/>
          <a:lstStyle>
            <a:lvl1pPr marL="211903" indent="-211903">
              <a:tabLst>
                <a:tab pos="211903" algn="l"/>
              </a:tabLst>
              <a:defRPr sz="44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320411" y="4868847"/>
            <a:ext cx="4114450" cy="849463"/>
          </a:xfrm>
        </p:spPr>
        <p:txBody>
          <a:bodyPr/>
          <a:lstStyle>
            <a:lvl1pPr marL="0" indent="0" algn="r">
              <a:spcBef>
                <a:spcPts val="0"/>
              </a:spcBef>
              <a:buNone/>
              <a:defRPr sz="24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89349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2" y="1241427"/>
            <a:ext cx="4114449" cy="1555554"/>
          </a:xfrm>
        </p:spPr>
        <p:txBody>
          <a:bodyPr>
            <a:spAutoFit/>
          </a:bodyPr>
          <a:lstStyle>
            <a:lvl1pPr>
              <a:defRPr sz="494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664472" y="1"/>
            <a:ext cx="4662091" cy="6992587"/>
          </a:xfrm>
          <a:blipFill>
            <a:blip r:embed="rId2"/>
            <a:stretch>
              <a:fillRect/>
            </a:stretch>
          </a:blipFill>
        </p:spPr>
        <p:txBody>
          <a:bodyPr tIns="548640" anchor="ctr" anchorCtr="0">
            <a:noAutofit/>
          </a:bodyPr>
          <a:lstStyle>
            <a:lvl1pPr marL="0" indent="0" algn="ctr">
              <a:buNone/>
              <a:defRPr sz="12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18249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322100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493876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9326563"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6" tIns="34976" rIns="34976" bIns="34976" numCol="1" spcCol="0" rtlCol="0" fromWordArt="0" anchor="ctr" anchorCtr="0" forceAA="0" compatLnSpc="1">
            <a:prstTxWarp prst="textNoShape">
              <a:avLst/>
            </a:prstTxWarp>
            <a:noAutofit/>
          </a:bodyPr>
          <a:lstStyle/>
          <a:p>
            <a:pPr algn="ctr" defTabSz="699261" fontAlgn="base">
              <a:spcBef>
                <a:spcPct val="0"/>
              </a:spcBef>
              <a:spcAft>
                <a:spcPct val="0"/>
              </a:spcAft>
            </a:pPr>
            <a:endParaRPr lang="en-US" sz="13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5961" y="1221158"/>
            <a:ext cx="8914641" cy="1543115"/>
          </a:xfrm>
        </p:spPr>
        <p:txBody>
          <a:bodyPr/>
          <a:lstStyle>
            <a:lvl1pPr marL="0" indent="0">
              <a:buNone/>
              <a:defRPr sz="247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988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38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108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8814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749817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5961" y="6294477"/>
            <a:ext cx="8914641" cy="302372"/>
          </a:xfrm>
          <a:prstGeom prst="rect">
            <a:avLst/>
          </a:prstGeom>
          <a:noFill/>
          <a:ln w="12700">
            <a:noFill/>
            <a:miter lim="800000"/>
            <a:headEnd type="none" w="sm" len="sm"/>
            <a:tailEnd type="none" w="sm" len="sm"/>
          </a:ln>
          <a:effectLst/>
        </p:spPr>
        <p:txBody>
          <a:bodyPr vert="horz" wrap="square" lIns="137148" tIns="109719" rIns="137148" bIns="109719" numCol="1" anchor="t" anchorCtr="0" compatLnSpc="1">
            <a:prstTxWarp prst="textNoShape">
              <a:avLst/>
            </a:prstTxWarp>
            <a:spAutoFit/>
          </a:bodyPr>
          <a:lstStyle/>
          <a:p>
            <a:pPr defTabSz="699124" eaLnBrk="0" hangingPunct="0"/>
            <a:r>
              <a:rPr lang="en-US" sz="525"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342871" y="479425"/>
            <a:ext cx="1087362" cy="306604"/>
          </a:xfrm>
          <a:prstGeom prst="rect">
            <a:avLst/>
          </a:prstGeom>
        </p:spPr>
      </p:pic>
    </p:spTree>
    <p:extLst>
      <p:ext uri="{BB962C8B-B14F-4D97-AF65-F5344CB8AC3E}">
        <p14:creationId xmlns:p14="http://schemas.microsoft.com/office/powerpoint/2010/main" val="1558727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5961" y="1212850"/>
            <a:ext cx="8914642" cy="1878976"/>
          </a:xfrm>
          <a:prstGeom prst="rect">
            <a:avLst/>
          </a:prstGeom>
        </p:spPr>
        <p:txBody>
          <a:bodyPr/>
          <a:lstStyle>
            <a:lvl1pPr marL="217856" indent="-217856">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Arial" pitchFamily="34" charset="0"/>
              <a:buChar char="•"/>
              <a:defRPr sz="21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Arial" pitchFamily="34" charset="0"/>
              <a:buChar char="•"/>
              <a:defRPr sz="15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9326564"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24925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1209974"/>
            <a:ext cx="7541968" cy="932307"/>
          </a:xfrm>
          <a:noFill/>
        </p:spPr>
        <p:txBody>
          <a:bodyPr tIns="91440" bIns="91440" anchor="t" anchorCtr="0">
            <a:spAutoFit/>
          </a:bodyPr>
          <a:lstStyle>
            <a:lvl1pPr>
              <a:defRPr sz="5398" spc="-75"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5962" y="3954463"/>
            <a:ext cx="7543159" cy="669286"/>
          </a:xfrm>
          <a:noFill/>
        </p:spPr>
        <p:txBody>
          <a:bodyPr lIns="182880" tIns="146304" rIns="182880" bIns="146304">
            <a:spAutoFit/>
          </a:bodyPr>
          <a:lstStyle>
            <a:lvl1pPr marL="0" indent="0">
              <a:spcBef>
                <a:spcPts val="0"/>
              </a:spcBef>
              <a:buNone/>
              <a:defRPr sz="26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3918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4638" y="3954457"/>
            <a:ext cx="6400800" cy="1830388"/>
          </a:xfrm>
          <a:noFill/>
        </p:spPr>
        <p:txBody>
          <a:bodyPr lIns="146304" tIns="109728" rIns="146304" bIns="109728">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7315200" cy="1837298"/>
          </a:xfrm>
          <a:noFill/>
        </p:spPr>
        <p:txBody>
          <a:bodyPr lIns="146304" tIns="91440" rIns="146304" bIns="91440" anchor="t" anchorCtr="0"/>
          <a:lstStyle>
            <a:lvl1pPr>
              <a:defRPr sz="4800" spc="-75"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userDrawn="1"/>
        </p:nvGrpSpPr>
        <p:grpSpPr bwMode="gray">
          <a:xfrm>
            <a:off x="457200" y="6239914"/>
            <a:ext cx="1280160" cy="274835"/>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9"/>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6"/>
            <a:ext cx="9326563" cy="543421"/>
          </a:xfrm>
          <a:prstGeom prst="rect">
            <a:avLst/>
          </a:prstGeom>
          <a:solidFill>
            <a:srgbClr val="409AE1"/>
          </a:solidFill>
          <a:ln w="28575">
            <a:noFill/>
          </a:ln>
        </p:spPr>
        <p:txBody>
          <a:bodyPr vert="horz" wrap="square" lIns="69929" tIns="34964" rIns="69929" bIns="34964" numCol="1" anchor="t" anchorCtr="0" compatLnSpc="1">
            <a:prstTxWarp prst="textNoShape">
              <a:avLst/>
            </a:prstTxWarp>
          </a:bodyPr>
          <a:lstStyle/>
          <a:p>
            <a:pPr marR="0" lvl="0" indent="0" defTabSz="713246" fontAlgn="auto">
              <a:lnSpc>
                <a:spcPct val="100000"/>
              </a:lnSpc>
              <a:spcBef>
                <a:spcPts val="0"/>
              </a:spcBef>
              <a:spcAft>
                <a:spcPts val="0"/>
              </a:spcAft>
              <a:buClrTx/>
              <a:buSzTx/>
              <a:buFontTx/>
              <a:buNone/>
              <a:tabLst/>
            </a:pPr>
            <a:endParaRPr kumimoji="0" lang="en-US" sz="803"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7117162" y="6077722"/>
            <a:ext cx="1505511"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p:spPr>
        <p:txBody>
          <a:bodyPr vert="horz" wrap="square" lIns="69929" tIns="34964" rIns="69929" bIns="34964" numCol="1" anchor="t" anchorCtr="0" compatLnSpc="1">
            <a:prstTxWarp prst="textNoShape">
              <a:avLst/>
            </a:prstTxWarp>
          </a:bodyPr>
          <a:lstStyle/>
          <a:p>
            <a:pPr marL="0" marR="0" lvl="0" indent="0" defTabSz="713246" eaLnBrk="1" fontAlgn="auto" latinLnBrk="0" hangingPunct="1">
              <a:lnSpc>
                <a:spcPct val="100000"/>
              </a:lnSpc>
              <a:spcBef>
                <a:spcPts val="0"/>
              </a:spcBef>
              <a:spcAft>
                <a:spcPts val="0"/>
              </a:spcAft>
              <a:buClrTx/>
              <a:buSzTx/>
              <a:buFontTx/>
              <a:buNone/>
              <a:tabLst/>
              <a:defRPr/>
            </a:pPr>
            <a:endParaRPr kumimoji="0" lang="en-US" sz="803"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7143767" y="6339910"/>
            <a:ext cx="1395792"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3176"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031892" y="4568216"/>
            <a:ext cx="186070" cy="4249853"/>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713176" fontAlgn="base">
                <a:lnSpc>
                  <a:spcPct val="90000"/>
                </a:lnSpc>
                <a:spcBef>
                  <a:spcPct val="0"/>
                </a:spcBef>
                <a:spcAft>
                  <a:spcPct val="0"/>
                </a:spcAft>
              </a:pPr>
              <a:endParaRPr lang="en-US" sz="1836"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713176" fontAlgn="base">
                <a:lnSpc>
                  <a:spcPct val="90000"/>
                </a:lnSpc>
                <a:spcBef>
                  <a:spcPct val="0"/>
                </a:spcBef>
                <a:spcAft>
                  <a:spcPct val="0"/>
                </a:spcAft>
              </a:pPr>
              <a:endParaRPr lang="en-US" sz="1836"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4349859" y="6820878"/>
            <a:ext cx="2922303"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79" tIns="111903" rIns="139879" bIns="111903" numCol="1" spcCol="0" rtlCol="0" fromWordArt="0" anchor="t" anchorCtr="0" forceAA="0" compatLnSpc="1">
            <a:prstTxWarp prst="textNoShape">
              <a:avLst/>
            </a:prstTxWarp>
            <a:noAutofit/>
          </a:bodyPr>
          <a:lstStyle/>
          <a:p>
            <a:pPr algn="ctr" defTabSz="713176" fontAlgn="base">
              <a:lnSpc>
                <a:spcPct val="90000"/>
              </a:lnSpc>
              <a:spcBef>
                <a:spcPct val="0"/>
              </a:spcBef>
              <a:spcAft>
                <a:spcPct val="0"/>
              </a:spcAft>
            </a:pPr>
            <a:endParaRPr lang="en-US" sz="1836"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1567952" y="5824227"/>
            <a:ext cx="6000352"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79" tIns="111903" rIns="139879" bIns="111903" numCol="1" spcCol="0" rtlCol="0" fromWordArt="0" anchor="t" anchorCtr="0" forceAA="0" compatLnSpc="1">
            <a:prstTxWarp prst="textNoShape">
              <a:avLst/>
            </a:prstTxWarp>
            <a:noAutofit/>
          </a:bodyPr>
          <a:lstStyle/>
          <a:p>
            <a:pPr algn="ctr" defTabSz="713176" fontAlgn="base">
              <a:lnSpc>
                <a:spcPct val="90000"/>
              </a:lnSpc>
              <a:spcBef>
                <a:spcPct val="0"/>
              </a:spcBef>
              <a:spcAft>
                <a:spcPct val="0"/>
              </a:spcAft>
            </a:pPr>
            <a:endParaRPr lang="en-US" sz="1836"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8586357" y="6428115"/>
            <a:ext cx="542609"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79" tIns="111903" rIns="139879" bIns="111903" numCol="1" spcCol="0" rtlCol="0" fromWordArt="0" anchor="t" anchorCtr="0" forceAA="0" compatLnSpc="1">
            <a:prstTxWarp prst="textNoShape">
              <a:avLst/>
            </a:prstTxWarp>
            <a:noAutofit/>
          </a:bodyPr>
          <a:lstStyle/>
          <a:p>
            <a:pPr algn="ctr" defTabSz="713176" fontAlgn="base">
              <a:lnSpc>
                <a:spcPct val="90000"/>
              </a:lnSpc>
              <a:spcBef>
                <a:spcPct val="0"/>
              </a:spcBef>
              <a:spcAft>
                <a:spcPct val="0"/>
              </a:spcAft>
            </a:pPr>
            <a:endParaRPr lang="en-US" sz="1836"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9326563"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9" tIns="34970" rIns="69939" bIns="34970" numCol="1" spcCol="0" rtlCol="0" fromWordArt="0" anchor="ctr" anchorCtr="0" forceAA="0" compatLnSpc="1">
            <a:prstTxWarp prst="textNoShape">
              <a:avLst/>
            </a:prstTxWarp>
            <a:noAutofit/>
          </a:bodyPr>
          <a:lstStyle/>
          <a:p>
            <a:pPr algn="ctr" defTabSz="713176" fontAlgn="base">
              <a:spcBef>
                <a:spcPct val="0"/>
              </a:spcBef>
              <a:spcAft>
                <a:spcPct val="0"/>
              </a:spcAft>
            </a:pPr>
            <a:endParaRPr lang="en-US" sz="1836">
              <a:solidFill>
                <a:schemeClr val="tx1"/>
              </a:solidFill>
              <a:ea typeface="Segoe UI" pitchFamily="34" charset="0"/>
              <a:cs typeface="Segoe UI" pitchFamily="34" charset="0"/>
            </a:endParaRPr>
          </a:p>
        </p:txBody>
      </p:sp>
      <p:sp>
        <p:nvSpPr>
          <p:cNvPr id="45" name="Bent Arrow 44"/>
          <p:cNvSpPr/>
          <p:nvPr userDrawn="1"/>
        </p:nvSpPr>
        <p:spPr bwMode="auto">
          <a:xfrm rot="16200000">
            <a:off x="8783839" y="6775676"/>
            <a:ext cx="332072" cy="20352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79" tIns="111903" rIns="139879" bIns="111903" numCol="1" spcCol="0" rtlCol="0" fromWordArt="0" anchor="t" anchorCtr="0" forceAA="0" compatLnSpc="1">
            <a:prstTxWarp prst="textNoShape">
              <a:avLst/>
            </a:prstTxWarp>
            <a:noAutofit/>
          </a:bodyPr>
          <a:lstStyle/>
          <a:p>
            <a:pPr algn="ctr" defTabSz="713176" fontAlgn="base">
              <a:lnSpc>
                <a:spcPct val="90000"/>
              </a:lnSpc>
              <a:spcBef>
                <a:spcPct val="0"/>
              </a:spcBef>
              <a:spcAft>
                <a:spcPct val="0"/>
              </a:spcAft>
            </a:pPr>
            <a:endParaRPr lang="en-US" sz="1836"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3357649" y="6731768"/>
            <a:ext cx="92991"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69939" tIns="34970" rIns="69939" bIns="3497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3390087" y="6591208"/>
            <a:ext cx="28654"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69939" tIns="34970" rIns="69939" bIns="34970" numCol="1" anchor="t" anchorCtr="0" compatLnSpc="1">
            <a:prstTxWarp prst="textNoShape">
              <a:avLst/>
            </a:prstTxWarp>
          </a:bodyPr>
          <a:lstStyle/>
          <a:p>
            <a:pPr marL="0" marR="0" lvl="0" indent="0" defTabSz="699354"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166458" y="6994525"/>
            <a:ext cx="9587485"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9" tIns="34970" rIns="69939" bIns="34970" numCol="1" spcCol="0" rtlCol="0" fromWordArt="0" anchor="ctr" anchorCtr="0" forceAA="0" compatLnSpc="1">
            <a:prstTxWarp prst="textNoShape">
              <a:avLst/>
            </a:prstTxWarp>
            <a:noAutofit/>
          </a:bodyPr>
          <a:lstStyle/>
          <a:p>
            <a:pPr algn="ctr" defTabSz="713176" fontAlgn="base">
              <a:spcBef>
                <a:spcPct val="0"/>
              </a:spcBef>
              <a:spcAft>
                <a:spcPct val="0"/>
              </a:spcAft>
            </a:pPr>
            <a:endParaRPr lang="en-US" sz="1836">
              <a:solidFill>
                <a:schemeClr val="tx1"/>
              </a:solidFill>
              <a:ea typeface="Segoe UI" pitchFamily="34" charset="0"/>
              <a:cs typeface="Segoe UI" pitchFamily="34" charset="0"/>
            </a:endParaRPr>
          </a:p>
        </p:txBody>
      </p:sp>
      <p:sp>
        <p:nvSpPr>
          <p:cNvPr id="52" name="Rectangle 51"/>
          <p:cNvSpPr/>
          <p:nvPr userDrawn="1"/>
        </p:nvSpPr>
        <p:spPr bwMode="auto">
          <a:xfrm>
            <a:off x="-299783" y="6195152"/>
            <a:ext cx="299783"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9" tIns="34970" rIns="69939" bIns="34970" numCol="1" spcCol="0" rtlCol="0" fromWordArt="0" anchor="ctr" anchorCtr="0" forceAA="0" compatLnSpc="1">
            <a:prstTxWarp prst="textNoShape">
              <a:avLst/>
            </a:prstTxWarp>
            <a:noAutofit/>
          </a:bodyPr>
          <a:lstStyle/>
          <a:p>
            <a:pPr algn="ctr" defTabSz="713176" fontAlgn="base">
              <a:spcBef>
                <a:spcPct val="0"/>
              </a:spcBef>
              <a:spcAft>
                <a:spcPct val="0"/>
              </a:spcAft>
            </a:pPr>
            <a:endParaRPr lang="en-US" sz="1836">
              <a:solidFill>
                <a:schemeClr val="tx1"/>
              </a:solidFill>
              <a:ea typeface="Segoe UI" pitchFamily="34" charset="0"/>
              <a:cs typeface="Segoe UI" pitchFamily="34" charset="0"/>
            </a:endParaRPr>
          </a:p>
        </p:txBody>
      </p:sp>
      <p:sp>
        <p:nvSpPr>
          <p:cNvPr id="53" name="Rectangle 52"/>
          <p:cNvSpPr/>
          <p:nvPr userDrawn="1"/>
        </p:nvSpPr>
        <p:spPr bwMode="auto">
          <a:xfrm>
            <a:off x="0" y="6471310"/>
            <a:ext cx="9326563"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9" tIns="34970" rIns="69939" bIns="34970" numCol="1" spcCol="0" rtlCol="0" fromWordArt="0" anchor="ctr" anchorCtr="0" forceAA="0" compatLnSpc="1">
            <a:prstTxWarp prst="textNoShape">
              <a:avLst/>
            </a:prstTxWarp>
            <a:noAutofit/>
          </a:bodyPr>
          <a:lstStyle/>
          <a:p>
            <a:pPr algn="ctr" defTabSz="713176" fontAlgn="base">
              <a:spcBef>
                <a:spcPct val="0"/>
              </a:spcBef>
              <a:spcAft>
                <a:spcPct val="0"/>
              </a:spcAft>
            </a:pPr>
            <a:endParaRPr lang="en-US" sz="1836">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31201" y="6620265"/>
            <a:ext cx="716482" cy="210480"/>
          </a:xfrm>
          <a:prstGeom prst="rect">
            <a:avLst/>
          </a:prstGeom>
        </p:spPr>
      </p:pic>
    </p:spTree>
    <p:extLst>
      <p:ext uri="{BB962C8B-B14F-4D97-AF65-F5344CB8AC3E}">
        <p14:creationId xmlns:p14="http://schemas.microsoft.com/office/powerpoint/2010/main" val="234502125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86380628"/>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3144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5962" y="6294476"/>
            <a:ext cx="8914641" cy="302340"/>
          </a:xfrm>
          <a:prstGeom prst="rect">
            <a:avLst/>
          </a:prstGeom>
          <a:noFill/>
          <a:ln w="12700">
            <a:noFill/>
            <a:miter lim="800000"/>
            <a:headEnd type="none" w="sm" len="sm"/>
            <a:tailEnd type="none" w="sm" len="sm"/>
          </a:ln>
          <a:effectLst/>
        </p:spPr>
        <p:txBody>
          <a:bodyPr vert="horz" wrap="square" lIns="137129" tIns="109703" rIns="137129" bIns="109703" numCol="1" anchor="t" anchorCtr="0" compatLnSpc="1">
            <a:prstTxWarp prst="textNoShape">
              <a:avLst/>
            </a:prstTxWarp>
            <a:spAutoFit/>
          </a:bodyPr>
          <a:lstStyle/>
          <a:p>
            <a:pPr marL="0" marR="0" lvl="0" indent="0" algn="l" defTabSz="699094" rtl="0" eaLnBrk="0" fontAlgn="auto" latinLnBrk="0" hangingPunct="0">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344395" y="3145040"/>
            <a:ext cx="2468670" cy="705836"/>
          </a:xfrm>
          <a:prstGeom prst="rect">
            <a:avLst/>
          </a:prstGeom>
        </p:spPr>
      </p:pic>
    </p:spTree>
    <p:extLst>
      <p:ext uri="{BB962C8B-B14F-4D97-AF65-F5344CB8AC3E}">
        <p14:creationId xmlns:p14="http://schemas.microsoft.com/office/powerpoint/2010/main" val="478992476"/>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9326087"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2381" y="4395789"/>
            <a:ext cx="9324182" cy="2601913"/>
          </a:xfrm>
          <a:prstGeom prst="rect">
            <a:avLst/>
          </a:prstGeom>
          <a:solidFill>
            <a:srgbClr val="4DA0E2"/>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0" name="Rectangle 7"/>
          <p:cNvSpPr>
            <a:spLocks noChangeArrowheads="1"/>
          </p:cNvSpPr>
          <p:nvPr userDrawn="1"/>
        </p:nvSpPr>
        <p:spPr bwMode="auto">
          <a:xfrm>
            <a:off x="0" y="5843589"/>
            <a:ext cx="9324183" cy="1154113"/>
          </a:xfrm>
          <a:prstGeom prst="rect">
            <a:avLst/>
          </a:prstGeom>
          <a:solidFill>
            <a:srgbClr val="00188F"/>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1" name="Rectangle 8"/>
          <p:cNvSpPr>
            <a:spLocks noChangeArrowheads="1"/>
          </p:cNvSpPr>
          <p:nvPr userDrawn="1"/>
        </p:nvSpPr>
        <p:spPr bwMode="auto">
          <a:xfrm>
            <a:off x="2382" y="3409951"/>
            <a:ext cx="9321802"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3" name="Rectangle 12"/>
          <p:cNvSpPr/>
          <p:nvPr userDrawn="1"/>
        </p:nvSpPr>
        <p:spPr bwMode="white">
          <a:xfrm>
            <a:off x="0" y="0"/>
            <a:ext cx="9326087" cy="699516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07388" y="3551231"/>
            <a:ext cx="4799002" cy="1830388"/>
          </a:xfrm>
          <a:noFill/>
        </p:spPr>
        <p:txBody>
          <a:bodyPr lIns="146304" tIns="109728" rIns="146304" bIns="109728">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6010" y="1713939"/>
            <a:ext cx="7543110" cy="1837298"/>
          </a:xfrm>
          <a:noFill/>
        </p:spPr>
        <p:txBody>
          <a:bodyPr lIns="146304" tIns="91440" rIns="146304" bIns="91440" anchor="t" anchorCtr="0"/>
          <a:lstStyle>
            <a:lvl1pPr>
              <a:defRPr sz="4499" spc="-75"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2381" y="4395789"/>
            <a:ext cx="9324182"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6360762" y="294305"/>
            <a:ext cx="2742967" cy="392415"/>
          </a:xfrm>
        </p:spPr>
        <p:txBody>
          <a:bodyPr/>
          <a:lstStyle>
            <a:lvl1pPr marL="0" indent="0" algn="r">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Session Code</a:t>
            </a:r>
          </a:p>
        </p:txBody>
      </p:sp>
      <p:sp>
        <p:nvSpPr>
          <p:cNvPr id="15" name="Text Placeholder 16"/>
          <p:cNvSpPr>
            <a:spLocks noGrp="1"/>
          </p:cNvSpPr>
          <p:nvPr>
            <p:ph type="body" sz="quarter" idx="14" hasCustomPrompt="1"/>
          </p:nvPr>
        </p:nvSpPr>
        <p:spPr>
          <a:xfrm>
            <a:off x="206010" y="6026444"/>
            <a:ext cx="2742967" cy="392415"/>
          </a:xfrm>
        </p:spPr>
        <p:txBody>
          <a:bodyPr/>
          <a:lstStyle>
            <a:lvl1pPr marL="0" indent="0" algn="l">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342871" y="479425"/>
            <a:ext cx="1087362" cy="306604"/>
          </a:xfrm>
          <a:prstGeom prst="rect">
            <a:avLst/>
          </a:prstGeom>
        </p:spPr>
      </p:pic>
    </p:spTree>
    <p:extLst>
      <p:ext uri="{BB962C8B-B14F-4D97-AF65-F5344CB8AC3E}">
        <p14:creationId xmlns:p14="http://schemas.microsoft.com/office/powerpoint/2010/main" val="1759333578"/>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100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950"/>
                                        <p:tgtEl>
                                          <p:spTgt spid="14"/>
                                        </p:tgtEl>
                                      </p:cBhvr>
                                    </p:animEffect>
                                  </p:childTnLst>
                                </p:cTn>
                              </p:par>
                              <p:par>
                                <p:cTn id="39" presetID="63" presetClass="path" presetSubtype="0" decel="100000" fill="hold" grpId="1" nodeType="withEffect">
                                  <p:stCondLst>
                                    <p:cond delay="1000"/>
                                  </p:stCondLst>
                                  <p:childTnLst>
                                    <p:animMotion origin="layout" path="M -0.01455 -1.34362E-6 L -3.90605E-7 -1.34362E-6 " pathEditMode="relative" rAng="0" ptsTypes="AA">
                                      <p:cBhvr>
                                        <p:cTn id="40" dur="950" fill="hold"/>
                                        <p:tgtEl>
                                          <p:spTgt spid="14"/>
                                        </p:tgtEl>
                                        <p:attrNameLst>
                                          <p:attrName>ppt_x</p:attrName>
                                          <p:attrName>ppt_y</p:attrName>
                                        </p:attrNameLst>
                                      </p:cBhvr>
                                      <p:rCtr x="728" y="0"/>
                                    </p:animMotion>
                                  </p:childTnLst>
                                </p:cTn>
                              </p:par>
                              <p:par>
                                <p:cTn id="41" presetID="6" presetClass="emph" presetSubtype="0" accel="100000" autoRev="1" fill="hold" grpId="2" nodeType="withEffect">
                                  <p:stCondLst>
                                    <p:cond delay="300"/>
                                  </p:stCondLst>
                                  <p:childTnLst>
                                    <p:animScale>
                                      <p:cBhvr>
                                        <p:cTn id="42" dur="500" fill="hold"/>
                                        <p:tgtEl>
                                          <p:spTgt spid="14"/>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7"/>
                                        </p:tgtEl>
                                        <p:attrNameLst>
                                          <p:attrName>style.visibility</p:attrName>
                                        </p:attrNameLst>
                                      </p:cBhvr>
                                      <p:to>
                                        <p:strVal val="visible"/>
                                      </p:to>
                                    </p:set>
                                    <p:animEffect transition="in" filter="fade">
                                      <p:cBhvr>
                                        <p:cTn id="45" dur="950"/>
                                        <p:tgtEl>
                                          <p:spTgt spid="17"/>
                                        </p:tgtEl>
                                      </p:cBhvr>
                                    </p:animEffect>
                                  </p:childTnLst>
                                </p:cTn>
                              </p:par>
                              <p:par>
                                <p:cTn id="46" presetID="63" presetClass="path" presetSubtype="0" decel="100000" fill="hold" grpId="1" nodeType="withEffect">
                                  <p:stCondLst>
                                    <p:cond delay="700"/>
                                  </p:stCondLst>
                                  <p:childTnLst>
                                    <p:animMotion origin="layout" path="M -0.01455 2.13345E-6 L 1.62369E-6 2.13345E-6 " pathEditMode="relative" rAng="0" ptsTypes="AA">
                                      <p:cBhvr>
                                        <p:cTn id="47" dur="950" fill="hold"/>
                                        <p:tgtEl>
                                          <p:spTgt spid="17"/>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7"/>
                                        </p:tgtEl>
                                      </p:cBhvr>
                                      <p:by x="95000" y="95000"/>
                                    </p:animScale>
                                  </p:childTnLst>
                                </p:cTn>
                              </p:par>
                              <p:par>
                                <p:cTn id="50" presetID="10" presetClass="entr" presetSubtype="0" fill="hold" grpId="0" nodeType="withEffect">
                                  <p:stCondLst>
                                    <p:cond delay="70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950"/>
                                        <p:tgtEl>
                                          <p:spTgt spid="15"/>
                                        </p:tgtEl>
                                      </p:cBhvr>
                                    </p:animEffect>
                                  </p:childTnLst>
                                </p:cTn>
                              </p:par>
                              <p:par>
                                <p:cTn id="53" presetID="63" presetClass="path" presetSubtype="0" decel="100000" fill="hold" grpId="1" nodeType="withEffect">
                                  <p:stCondLst>
                                    <p:cond delay="700"/>
                                  </p:stCondLst>
                                  <p:childTnLst>
                                    <p:animMotion origin="layout" path="M -0.01455 -2.09714E-6 L -4.54174E-6 -2.09714E-6 " pathEditMode="relative" rAng="0" ptsTypes="AA">
                                      <p:cBhvr>
                                        <p:cTn id="54" dur="950" fill="hold"/>
                                        <p:tgtEl>
                                          <p:spTgt spid="15"/>
                                        </p:tgtEl>
                                        <p:attrNameLst>
                                          <p:attrName>ppt_x</p:attrName>
                                          <p:attrName>ppt_y</p:attrName>
                                        </p:attrNameLst>
                                      </p:cBhvr>
                                      <p:rCtr x="728" y="0"/>
                                    </p:animMotion>
                                  </p:childTnLst>
                                </p:cTn>
                              </p:par>
                              <p:par>
                                <p:cTn id="55" presetID="6" presetClass="emph" presetSubtype="0" accel="100000" autoRev="1" fill="hold" grpId="2" nodeType="withEffect">
                                  <p:stCondLst>
                                    <p:cond delay="0"/>
                                  </p:stCondLst>
                                  <p:childTnLst>
                                    <p:animScale>
                                      <p:cBhvr>
                                        <p:cTn id="56"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p:ext uri="{DCECCB84-F9BA-43D5-87BE-67443E8EF086}">
      <p15:sldGuideLst xmlns:p15="http://schemas.microsoft.com/office/powerpoint/2012/main">
        <p15:guide id="4" orient="horz" pos="4406">
          <p15:clr>
            <a:srgbClr val="C35EA4"/>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Walkin (event name)">
    <p:bg bwMode="auto">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 y="1"/>
            <a:ext cx="9325240" cy="6994525"/>
          </a:xfrm>
          <a:prstGeom prst="rect">
            <a:avLst/>
          </a:prstGeom>
        </p:spPr>
      </p:pic>
      <p:sp>
        <p:nvSpPr>
          <p:cNvPr id="17" name="TextBox 16"/>
          <p:cNvSpPr txBox="1"/>
          <p:nvPr userDrawn="1"/>
        </p:nvSpPr>
        <p:spPr bwMode="white">
          <a:xfrm>
            <a:off x="220642" y="2136421"/>
            <a:ext cx="8914642" cy="1467820"/>
          </a:xfrm>
          <a:prstGeom prst="rect">
            <a:avLst/>
          </a:prstGeom>
          <a:noFill/>
        </p:spPr>
        <p:txBody>
          <a:bodyPr wrap="square" lIns="102861" tIns="109719" rIns="102861" bIns="109719" rtlCol="0">
            <a:spAutoFit/>
          </a:bodyPr>
          <a:lstStyle/>
          <a:p>
            <a:pPr>
              <a:lnSpc>
                <a:spcPct val="90000"/>
              </a:lnSpc>
              <a:spcAft>
                <a:spcPts val="450"/>
              </a:spcAft>
            </a:pPr>
            <a:r>
              <a:rPr lang="en-US" sz="4499" dirty="0">
                <a:gradFill>
                  <a:gsLst>
                    <a:gs pos="2917">
                      <a:srgbClr val="FFFFFF"/>
                    </a:gs>
                    <a:gs pos="30000">
                      <a:srgbClr val="FFFFFF"/>
                    </a:gs>
                  </a:gsLst>
                  <a:lin ang="5400000" scaled="0"/>
                </a:gradFill>
                <a:latin typeface="Segoe UI Light"/>
              </a:rPr>
              <a:t>Machine Learning,</a:t>
            </a:r>
            <a:r>
              <a:rPr lang="en-US" sz="4499" baseline="0" dirty="0">
                <a:gradFill>
                  <a:gsLst>
                    <a:gs pos="2917">
                      <a:srgbClr val="FFFFFF"/>
                    </a:gs>
                    <a:gs pos="30000">
                      <a:srgbClr val="FFFFFF"/>
                    </a:gs>
                  </a:gsLst>
                  <a:lin ang="5400000" scaled="0"/>
                </a:gradFill>
                <a:latin typeface="Segoe UI Light"/>
              </a:rPr>
              <a:t> Analytics,</a:t>
            </a:r>
            <a:br>
              <a:rPr lang="en-US" sz="4499" baseline="0" dirty="0">
                <a:gradFill>
                  <a:gsLst>
                    <a:gs pos="2917">
                      <a:srgbClr val="FFFFFF"/>
                    </a:gs>
                    <a:gs pos="30000">
                      <a:srgbClr val="FFFFFF"/>
                    </a:gs>
                  </a:gsLst>
                  <a:lin ang="5400000" scaled="0"/>
                </a:gradFill>
                <a:latin typeface="Segoe UI Light"/>
              </a:rPr>
            </a:br>
            <a:r>
              <a:rPr lang="en-US" sz="4499" baseline="0" dirty="0">
                <a:gradFill>
                  <a:gsLst>
                    <a:gs pos="2917">
                      <a:srgbClr val="FFFFFF"/>
                    </a:gs>
                    <a:gs pos="30000">
                      <a:srgbClr val="FFFFFF"/>
                    </a:gs>
                  </a:gsLst>
                  <a:lin ang="5400000" scaled="0"/>
                </a:gradFill>
                <a:latin typeface="Segoe UI Light"/>
              </a:rPr>
              <a:t>&amp; </a:t>
            </a:r>
            <a:r>
              <a:rPr lang="en-US" sz="4499" dirty="0">
                <a:gradFill>
                  <a:gsLst>
                    <a:gs pos="2917">
                      <a:srgbClr val="FFFFFF"/>
                    </a:gs>
                    <a:gs pos="30000">
                      <a:srgbClr val="FFFFFF"/>
                    </a:gs>
                  </a:gsLst>
                  <a:lin ang="5400000" scaled="0"/>
                </a:gradFill>
                <a:latin typeface="Segoe UI Light"/>
              </a:rPr>
              <a:t>Data Science Conference</a:t>
            </a:r>
            <a:endParaRPr lang="en-US" sz="5399" dirty="0">
              <a:gradFill>
                <a:gsLst>
                  <a:gs pos="2917">
                    <a:srgbClr val="FFFFFF"/>
                  </a:gs>
                  <a:gs pos="30000">
                    <a:srgbClr val="FFFFFF"/>
                  </a:gs>
                </a:gsLst>
                <a:lin ang="5400000" scaled="0"/>
              </a:gradFill>
              <a:latin typeface="Segoe UI Light"/>
            </a:endParaRPr>
          </a:p>
        </p:txBody>
      </p:sp>
      <p:sp>
        <p:nvSpPr>
          <p:cNvPr id="18" name="TextBox 17"/>
          <p:cNvSpPr txBox="1"/>
          <p:nvPr userDrawn="1"/>
        </p:nvSpPr>
        <p:spPr bwMode="white">
          <a:xfrm>
            <a:off x="220642" y="4029334"/>
            <a:ext cx="7645618" cy="637079"/>
          </a:xfrm>
          <a:prstGeom prst="rect">
            <a:avLst/>
          </a:prstGeom>
          <a:noFill/>
        </p:spPr>
        <p:txBody>
          <a:bodyPr wrap="square" lIns="102861" tIns="109719" rIns="102861" bIns="109719" rtlCol="0">
            <a:spAutoFit/>
          </a:bodyPr>
          <a:lstStyle/>
          <a:p>
            <a:pPr>
              <a:lnSpc>
                <a:spcPct val="90000"/>
              </a:lnSpc>
              <a:spcAft>
                <a:spcPts val="450"/>
              </a:spcAft>
            </a:pPr>
            <a:r>
              <a:rPr lang="en-US" sz="3000" dirty="0">
                <a:gradFill>
                  <a:gsLst>
                    <a:gs pos="2917">
                      <a:srgbClr val="FFFFFF"/>
                    </a:gs>
                    <a:gs pos="30000">
                      <a:srgbClr val="FFFFFF"/>
                    </a:gs>
                  </a:gsLst>
                  <a:lin ang="5400000" scaled="0"/>
                </a:gradFill>
                <a:latin typeface="Segoe UI Light"/>
              </a:rPr>
              <a:t>Nov 17–18</a:t>
            </a:r>
            <a:r>
              <a:rPr lang="en-US" sz="3000" baseline="0" dirty="0">
                <a:gradFill>
                  <a:gsLst>
                    <a:gs pos="2917">
                      <a:srgbClr val="FFFFFF"/>
                    </a:gs>
                    <a:gs pos="30000">
                      <a:srgbClr val="FFFFFF"/>
                    </a:gs>
                  </a:gsLst>
                  <a:lin ang="5400000" scaled="0"/>
                </a:gradFill>
                <a:latin typeface="Segoe UI Light"/>
              </a:rPr>
              <a:t> </a:t>
            </a:r>
            <a:r>
              <a:rPr lang="en-US" sz="3000" dirty="0">
                <a:gradFill>
                  <a:gsLst>
                    <a:gs pos="2917">
                      <a:srgbClr val="FFFFFF"/>
                    </a:gs>
                    <a:gs pos="30000">
                      <a:srgbClr val="FFFFFF"/>
                    </a:gs>
                  </a:gsLst>
                  <a:lin ang="5400000" scaled="0"/>
                </a:gradFill>
                <a:latin typeface="Segoe UI Light"/>
              </a:rPr>
              <a:t>| MSCC, Redmond, WA</a:t>
            </a:r>
          </a:p>
        </p:txBody>
      </p:sp>
      <p:grpSp>
        <p:nvGrpSpPr>
          <p:cNvPr id="7" name="Group 6"/>
          <p:cNvGrpSpPr>
            <a:grpSpLocks noChangeAspect="1"/>
          </p:cNvGrpSpPr>
          <p:nvPr userDrawn="1"/>
        </p:nvGrpSpPr>
        <p:grpSpPr bwMode="ltGray">
          <a:xfrm>
            <a:off x="351202" y="479425"/>
            <a:ext cx="1086004" cy="310896"/>
            <a:chOff x="457200" y="1643393"/>
            <a:chExt cx="4492753" cy="964540"/>
          </a:xfrm>
        </p:grpSpPr>
        <p:pic>
          <p:nvPicPr>
            <p:cNvPr id="8" name="Picture 7"/>
            <p:cNvPicPr>
              <a:picLocks noChangeAspect="1"/>
            </p:cNvPicPr>
            <p:nvPr/>
          </p:nvPicPr>
          <p:blipFill>
            <a:blip r:embed="rId3"/>
            <a:stretch>
              <a:fillRect/>
            </a:stretch>
          </p:blipFill>
          <p:spPr bwMode="ltGray">
            <a:xfrm>
              <a:off x="457200" y="1643393"/>
              <a:ext cx="964540" cy="964540"/>
            </a:xfrm>
            <a:prstGeom prst="rect">
              <a:avLst/>
            </a:prstGeom>
          </p:spPr>
        </p:pic>
        <p:sp>
          <p:nvSpPr>
            <p:cNvPr id="10" name="Freeform 12"/>
            <p:cNvSpPr>
              <a:spLocks noEditPoints="1"/>
            </p:cNvSpPr>
            <p:nvPr/>
          </p:nvSpPr>
          <p:spPr bwMode="lt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a:p>
          </p:txBody>
        </p:sp>
      </p:grpSp>
    </p:spTree>
    <p:extLst>
      <p:ext uri="{BB962C8B-B14F-4D97-AF65-F5344CB8AC3E}">
        <p14:creationId xmlns:p14="http://schemas.microsoft.com/office/powerpoint/2010/main" val="2096247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6010" y="2125663"/>
            <a:ext cx="4114401" cy="2552686"/>
          </a:xfrm>
          <a:noFill/>
        </p:spPr>
        <p:txBody>
          <a:bodyPr lIns="146304" tIns="91440" rIns="146304" bIns="91440" anchor="t" anchorCtr="0"/>
          <a:lstStyle>
            <a:lvl1pPr>
              <a:defRPr sz="4049" spc="-75"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6009" y="4678364"/>
            <a:ext cx="4114402" cy="1828800"/>
          </a:xfrm>
          <a:noFill/>
        </p:spPr>
        <p:txBody>
          <a:bodyPr lIns="164592" tIns="109728" rIns="164592" bIns="109728">
            <a:noAutofit/>
          </a:bodyPr>
          <a:lstStyle>
            <a:lvl1pPr marL="0" indent="0">
              <a:spcBef>
                <a:spcPts val="0"/>
              </a:spcBef>
              <a:buNone/>
              <a:defRPr sz="24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12" name="Group 11"/>
          <p:cNvGrpSpPr>
            <a:grpSpLocks noChangeAspect="1"/>
          </p:cNvGrpSpPr>
          <p:nvPr userDrawn="1"/>
        </p:nvGrpSpPr>
        <p:grpSpPr bwMode="black">
          <a:xfrm>
            <a:off x="351202" y="479425"/>
            <a:ext cx="1086004" cy="310896"/>
            <a:chOff x="457200" y="1643393"/>
            <a:chExt cx="4492753" cy="964540"/>
          </a:xfrm>
        </p:grpSpPr>
        <p:pic>
          <p:nvPicPr>
            <p:cNvPr id="14" name="Picture 13"/>
            <p:cNvPicPr>
              <a:picLocks noChangeAspect="1"/>
            </p:cNvPicPr>
            <p:nvPr/>
          </p:nvPicPr>
          <p:blipFill>
            <a:blip r:embed="rId2"/>
            <a:stretch>
              <a:fillRect/>
            </a:stretch>
          </p:blipFill>
          <p:spPr bwMode="black">
            <a:xfrm>
              <a:off x="457200" y="1643393"/>
              <a:ext cx="964540" cy="964540"/>
            </a:xfrm>
            <a:prstGeom prst="rect">
              <a:avLst/>
            </a:prstGeom>
          </p:spPr>
        </p:pic>
        <p:sp>
          <p:nvSpPr>
            <p:cNvPr id="15"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350"/>
            </a:p>
          </p:txBody>
        </p:sp>
      </p:grpSp>
      <p:pic>
        <p:nvPicPr>
          <p:cNvPr id="16" name="Picture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663519" y="1"/>
            <a:ext cx="4662383" cy="6994525"/>
          </a:xfrm>
          <a:prstGeom prst="rect">
            <a:avLst/>
          </a:prstGeom>
        </p:spPr>
      </p:pic>
    </p:spTree>
    <p:extLst>
      <p:ext uri="{BB962C8B-B14F-4D97-AF65-F5344CB8AC3E}">
        <p14:creationId xmlns:p14="http://schemas.microsoft.com/office/powerpoint/2010/main" val="1888994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5961" y="1212850"/>
            <a:ext cx="8914642" cy="1565044"/>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71427" indent="0">
              <a:buNone/>
              <a:defRPr/>
            </a:lvl3pPr>
            <a:lvl4pPr marL="342854" indent="0">
              <a:buNone/>
              <a:defRPr/>
            </a:lvl4pPr>
            <a:lvl5pPr marL="51428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6770234"/>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1" y="1212851"/>
            <a:ext cx="8914642" cy="1615827"/>
          </a:xfrm>
        </p:spPr>
        <p:txBody>
          <a:bodyPr>
            <a:spAutoFit/>
          </a:bodyPr>
          <a:lstStyle>
            <a:lvl1pPr>
              <a:defRPr sz="3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880178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49"/>
            <a:ext cx="4114449" cy="1481944"/>
          </a:xfrm>
        </p:spPr>
        <p:txBody>
          <a:bodyPr wrap="square">
            <a:spAutoFit/>
          </a:bodyPr>
          <a:lstStyle>
            <a:lvl1pPr marL="0" indent="0">
              <a:spcBef>
                <a:spcPts val="918"/>
              </a:spcBef>
              <a:buClr>
                <a:schemeClr val="tx1"/>
              </a:buClr>
              <a:buFont typeface="Wingdings" pitchFamily="2" charset="2"/>
              <a:buNone/>
              <a:defRPr sz="24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49"/>
            <a:ext cx="4114449" cy="1481944"/>
          </a:xfrm>
        </p:spPr>
        <p:txBody>
          <a:bodyPr wrap="square">
            <a:spAutoFit/>
          </a:bodyPr>
          <a:lstStyle>
            <a:lvl1pPr marL="0" indent="0">
              <a:spcBef>
                <a:spcPts val="918"/>
              </a:spcBef>
              <a:buClr>
                <a:schemeClr val="tx1"/>
              </a:buClr>
              <a:buFont typeface="Wingdings" pitchFamily="2" charset="2"/>
              <a:buNone/>
              <a:defRPr sz="24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872038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9326563"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6" tIns="34976" rIns="34976" bIns="34976" numCol="1" spcCol="0" rtlCol="0" fromWordArt="0" anchor="ctr" anchorCtr="0" forceAA="0" compatLnSpc="1">
            <a:prstTxWarp prst="textNoShape">
              <a:avLst/>
            </a:prstTxWarp>
            <a:noAutofit/>
          </a:bodyPr>
          <a:lstStyle/>
          <a:p>
            <a:pPr algn="ctr" defTabSz="699261" fontAlgn="base">
              <a:spcBef>
                <a:spcPct val="0"/>
              </a:spcBef>
              <a:spcAft>
                <a:spcPct val="0"/>
              </a:spcAft>
            </a:pPr>
            <a:endParaRPr lang="en-US" sz="13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60"/>
            <a:ext cx="8777287" cy="2037481"/>
          </a:xfrm>
        </p:spPr>
        <p:txBody>
          <a:bodyPr/>
          <a:lstStyle>
            <a:lvl1pPr marL="0" indent="0">
              <a:buNone/>
              <a:defRPr sz="3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988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38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108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8814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50"/>
            <a:ext cx="4114449" cy="1532727"/>
          </a:xfrm>
        </p:spPr>
        <p:txBody>
          <a:bodyPr wrap="square">
            <a:spAutoFit/>
          </a:bodyPr>
          <a:lstStyle>
            <a:lvl1pPr marL="215475" indent="-215475">
              <a:spcBef>
                <a:spcPts val="918"/>
              </a:spcBef>
              <a:buClr>
                <a:schemeClr val="tx1"/>
              </a:buClr>
              <a:buFont typeface="Arial" pitchFamily="34" charset="0"/>
              <a:buChar char="•"/>
              <a:defRPr sz="24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50"/>
            <a:ext cx="4114449" cy="1532727"/>
          </a:xfrm>
        </p:spPr>
        <p:txBody>
          <a:bodyPr wrap="square">
            <a:spAutoFit/>
          </a:bodyPr>
          <a:lstStyle>
            <a:lvl1pPr marL="215475" indent="-215475">
              <a:spcBef>
                <a:spcPts val="918"/>
              </a:spcBef>
              <a:buClr>
                <a:schemeClr val="tx1"/>
              </a:buClr>
              <a:buFont typeface="Arial" pitchFamily="34" charset="0"/>
              <a:buChar char="•"/>
              <a:defRPr sz="24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1740592"/>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40599796"/>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
          <a:xfrm>
            <a:off x="205961" y="2375104"/>
            <a:ext cx="5279366" cy="932435"/>
          </a:xfrm>
          <a:noFill/>
        </p:spPr>
        <p:txBody>
          <a:bodyPr wrap="square" tIns="91440" bIns="91440" anchor="b" anchorCtr="0">
            <a:spAutoFit/>
          </a:bodyPr>
          <a:lstStyle>
            <a:lvl1pPr>
              <a:defRPr sz="5399" spc="-75"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bwMode="black">
          <a:xfrm>
            <a:off x="205962" y="3954463"/>
            <a:ext cx="5280200" cy="627864"/>
          </a:xfrm>
          <a:noFill/>
        </p:spPr>
        <p:txBody>
          <a:bodyPr wrap="square"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691027" y="1"/>
            <a:ext cx="3635536" cy="6994525"/>
          </a:xfrm>
          <a:prstGeom prst="rect">
            <a:avLst/>
          </a:prstGeom>
        </p:spPr>
      </p:pic>
      <p:sp>
        <p:nvSpPr>
          <p:cNvPr id="4" name="Rectangle 3"/>
          <p:cNvSpPr/>
          <p:nvPr userDrawn="1"/>
        </p:nvSpPr>
        <p:spPr bwMode="auto">
          <a:xfrm>
            <a:off x="5691027" y="1"/>
            <a:ext cx="2058058" cy="6994525"/>
          </a:xfrm>
          <a:prstGeom prst="rect">
            <a:avLst/>
          </a:prstGeom>
          <a:gradFill flip="none" rotWithShape="1">
            <a:gsLst>
              <a:gs pos="0">
                <a:srgbClr val="E6E6E6">
                  <a:alpha val="5000"/>
                </a:srgbClr>
              </a:gs>
              <a:gs pos="100000">
                <a:srgbClr val="E6E6E6">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1648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
          <a:xfrm>
            <a:off x="205962" y="2125677"/>
            <a:ext cx="5280211" cy="932435"/>
          </a:xfrm>
          <a:noFill/>
        </p:spPr>
        <p:txBody>
          <a:bodyPr wrap="square" tIns="91440" bIns="91440" anchor="t" anchorCtr="0">
            <a:spAutoFit/>
          </a:bodyPr>
          <a:lstStyle>
            <a:lvl1pPr>
              <a:defRPr lang="en-US" sz="5399" b="0" kern="1200" cap="none" spc="-75"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691027" y="1"/>
            <a:ext cx="3635536" cy="6994525"/>
          </a:xfrm>
          <a:prstGeom prst="rect">
            <a:avLst/>
          </a:prstGeom>
        </p:spPr>
      </p:pic>
      <p:sp>
        <p:nvSpPr>
          <p:cNvPr id="7" name="Rectangle 6"/>
          <p:cNvSpPr/>
          <p:nvPr userDrawn="1"/>
        </p:nvSpPr>
        <p:spPr bwMode="auto">
          <a:xfrm>
            <a:off x="5691027" y="1"/>
            <a:ext cx="2058058" cy="6994525"/>
          </a:xfrm>
          <a:prstGeom prst="rect">
            <a:avLst/>
          </a:prstGeom>
          <a:gradFill flip="none" rotWithShape="1">
            <a:gsLst>
              <a:gs pos="0">
                <a:srgbClr val="E6E6E6">
                  <a:alpha val="5000"/>
                </a:srgbClr>
              </a:gs>
              <a:gs pos="100000">
                <a:srgbClr val="E6E6E6">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174389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2"/>
            <a:ext cx="7543158" cy="932435"/>
          </a:xfrm>
          <a:noFill/>
        </p:spPr>
        <p:txBody>
          <a:bodyPr wrap="square"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89567220"/>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2"/>
            <a:ext cx="7543158" cy="932435"/>
          </a:xfrm>
          <a:noFill/>
        </p:spPr>
        <p:txBody>
          <a:bodyPr wrap="square"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72213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2"/>
            <a:ext cx="7543158" cy="932435"/>
          </a:xfrm>
          <a:noFill/>
        </p:spPr>
        <p:txBody>
          <a:bodyPr wrap="square"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8672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2" y="3155631"/>
            <a:ext cx="4114449" cy="683264"/>
          </a:xfrm>
        </p:spPr>
        <p:txBody>
          <a:bodyPr anchor="ctr">
            <a:spAutoFit/>
          </a:bodyPr>
          <a:lstStyle>
            <a:lvl1pPr>
              <a:defRPr sz="3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664472" y="1"/>
            <a:ext cx="4662091" cy="6992587"/>
          </a:xfrm>
          <a:blipFill>
            <a:blip r:embed="rId2"/>
            <a:stretch>
              <a:fillRect/>
            </a:stretch>
          </a:blipFill>
        </p:spPr>
        <p:txBody>
          <a:bodyPr tIns="548640" anchor="ctr" anchorCtr="0">
            <a:noAutofit/>
          </a:bodyPr>
          <a:lstStyle>
            <a:lvl1pPr marL="0" indent="0" algn="ctr">
              <a:buNone/>
              <a:defRPr sz="12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53694115"/>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2" y="2906332"/>
            <a:ext cx="3668718" cy="1181862"/>
          </a:xfrm>
        </p:spPr>
        <p:txBody>
          <a:bodyPr wrap="square" anchor="ctr">
            <a:spAutoFit/>
          </a:bodyPr>
          <a:lstStyle>
            <a:lvl1pPr>
              <a:defRPr sz="36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4080639" y="1"/>
            <a:ext cx="5245924" cy="6992587"/>
          </a:xfrm>
          <a:prstGeom prst="rect">
            <a:avLst/>
          </a:prstGeom>
          <a:blipFill>
            <a:blip r:embed="rId2"/>
            <a:stretch>
              <a:fillRect/>
            </a:stretch>
          </a:blipFill>
        </p:spPr>
        <p:txBody>
          <a:bodyPr tIns="548640" anchor="ctr" anchorCtr="0">
            <a:noAutofit/>
          </a:bodyPr>
          <a:lstStyle>
            <a:lvl1pPr marL="0" indent="0" algn="ctr">
              <a:buNone/>
              <a:defRPr sz="12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80639" y="0"/>
            <a:ext cx="5245924" cy="6995160"/>
          </a:xfrm>
          <a:prstGeom prst="rect">
            <a:avLst/>
          </a:prstGeom>
        </p:spPr>
      </p:pic>
    </p:spTree>
    <p:extLst>
      <p:ext uri="{BB962C8B-B14F-4D97-AF65-F5344CB8AC3E}">
        <p14:creationId xmlns:p14="http://schemas.microsoft.com/office/powerpoint/2010/main" val="424003697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043087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88702" y="6321406"/>
            <a:ext cx="8777288" cy="37625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699124" eaLnBrk="0" hangingPunct="0"/>
            <a:r>
              <a:rPr lang="en-US" sz="52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0557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9326563"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6" tIns="34976" rIns="34976" bIns="34976" numCol="1" spcCol="0" rtlCol="0" fromWordArt="0" anchor="ctr" anchorCtr="0" forceAA="0" compatLnSpc="1">
            <a:prstTxWarp prst="textNoShape">
              <a:avLst/>
            </a:prstTxWarp>
            <a:noAutofit/>
          </a:bodyPr>
          <a:lstStyle/>
          <a:p>
            <a:pPr algn="ctr" defTabSz="699261" fontAlgn="base">
              <a:spcBef>
                <a:spcPct val="0"/>
              </a:spcBef>
              <a:spcAft>
                <a:spcPct val="0"/>
              </a:spcAft>
            </a:pPr>
            <a:endParaRPr lang="en-US" sz="13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5961" y="1221158"/>
            <a:ext cx="8914641" cy="1543115"/>
          </a:xfrm>
        </p:spPr>
        <p:txBody>
          <a:bodyPr/>
          <a:lstStyle>
            <a:lvl1pPr marL="0" indent="0">
              <a:buNone/>
              <a:defRPr sz="247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988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383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6108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8814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8040750"/>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351202" y="479425"/>
            <a:ext cx="1086004"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a:p>
          </p:txBody>
        </p:sp>
      </p:grpSp>
      <p:sp>
        <p:nvSpPr>
          <p:cNvPr id="8" name="Text Box 3"/>
          <p:cNvSpPr txBox="1">
            <a:spLocks noChangeArrowheads="1"/>
          </p:cNvSpPr>
          <p:nvPr userDrawn="1"/>
        </p:nvSpPr>
        <p:spPr bwMode="blackWhite">
          <a:xfrm>
            <a:off x="205962" y="6220610"/>
            <a:ext cx="3428708" cy="357766"/>
          </a:xfrm>
          <a:prstGeom prst="rect">
            <a:avLst/>
          </a:prstGeom>
          <a:noFill/>
          <a:ln w="12700">
            <a:noFill/>
            <a:miter lim="800000"/>
            <a:headEnd type="none" w="sm" len="sm"/>
            <a:tailEnd type="none" w="sm" len="sm"/>
          </a:ln>
          <a:effectLst/>
        </p:spPr>
        <p:txBody>
          <a:bodyPr vert="horz" wrap="square" lIns="137148" tIns="137148" rIns="137148" bIns="137148" numCol="1" anchor="t" anchorCtr="0" compatLnSpc="1">
            <a:prstTxWarp prst="textNoShape">
              <a:avLst/>
            </a:prstTxWarp>
            <a:spAutoFit/>
          </a:bodyPr>
          <a:lstStyle/>
          <a:p>
            <a:pPr defTabSz="699124" eaLnBrk="0" hangingPunct="0"/>
            <a:r>
              <a:rPr lang="en-US" sz="525"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28029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5961" y="1212850"/>
            <a:ext cx="8914642" cy="1878976"/>
          </a:xfrm>
          <a:prstGeom prst="rect">
            <a:avLst/>
          </a:prstGeom>
        </p:spPr>
        <p:txBody>
          <a:bodyPr/>
          <a:lstStyle>
            <a:lvl1pPr marL="217856" indent="-217856">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Arial" pitchFamily="34" charset="0"/>
              <a:buChar char="•"/>
              <a:defRPr sz="21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Arial" pitchFamily="34" charset="0"/>
              <a:buChar char="•"/>
              <a:defRPr sz="15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9326564"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335167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8777288" cy="2443746"/>
          </a:xfrm>
          <a:prstGeom prst="rect">
            <a:avLst/>
          </a:prstGeom>
        </p:spPr>
        <p:txBody>
          <a:bodyPr/>
          <a:lstStyle>
            <a:lvl1pPr marL="217856" indent="-217856">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9326564"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2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602221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Content with Graph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3"/>
          </p:nvPr>
        </p:nvSpPr>
        <p:spPr>
          <a:xfrm>
            <a:off x="211430" y="1212850"/>
            <a:ext cx="5314498" cy="2536079"/>
          </a:xfrm>
        </p:spPr>
        <p:txBody>
          <a:bodyPr/>
          <a:lstStyle>
            <a:lvl1pPr marL="0" indent="0">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5481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r="25007"/>
          <a:stretch/>
        </p:blipFill>
        <p:spPr>
          <a:xfrm>
            <a:off x="0" y="-992"/>
            <a:ext cx="9326563" cy="6995517"/>
          </a:xfrm>
          <a:prstGeom prst="rect">
            <a:avLst/>
          </a:prstGeom>
        </p:spPr>
      </p:pic>
      <p:sp>
        <p:nvSpPr>
          <p:cNvPr id="7" name="Rectangle 6"/>
          <p:cNvSpPr/>
          <p:nvPr userDrawn="1"/>
        </p:nvSpPr>
        <p:spPr bwMode="auto">
          <a:xfrm>
            <a:off x="274209" y="2125676"/>
            <a:ext cx="5486340" cy="365760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a:grpSpLocks noChangeAspect="1"/>
          </p:cNvGrpSpPr>
          <p:nvPr userDrawn="1"/>
        </p:nvGrpSpPr>
        <p:grpSpPr bwMode="gray">
          <a:xfrm>
            <a:off x="457200" y="6239914"/>
            <a:ext cx="1280160" cy="274835"/>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0"/>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9" name="Title 1"/>
          <p:cNvSpPr>
            <a:spLocks noGrp="1"/>
          </p:cNvSpPr>
          <p:nvPr>
            <p:ph type="title" hasCustomPrompt="1"/>
          </p:nvPr>
        </p:nvSpPr>
        <p:spPr bwMode="auto">
          <a:xfrm>
            <a:off x="274638" y="2125677"/>
            <a:ext cx="5486400" cy="1828800"/>
          </a:xfrm>
          <a:noFill/>
        </p:spPr>
        <p:txBody>
          <a:bodyPr lIns="146304" tIns="91440" rIns="146304" bIns="91440" anchor="t" anchorCtr="0"/>
          <a:lstStyle>
            <a:lvl1pPr>
              <a:defRPr sz="4800" spc="-75" baseline="0">
                <a:gradFill>
                  <a:gsLst>
                    <a:gs pos="17593">
                      <a:srgbClr val="FFFFFF"/>
                    </a:gs>
                    <a:gs pos="46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638" y="3954457"/>
            <a:ext cx="5486400" cy="1828800"/>
          </a:xfrm>
        </p:spPr>
        <p:txBody>
          <a:bodyPr tIns="109728" bIns="109728">
            <a:noAutofit/>
          </a:bodyPr>
          <a:lstStyle>
            <a:lvl1pPr marL="0" indent="0">
              <a:spcBef>
                <a:spcPts val="0"/>
              </a:spcBef>
              <a:buNone/>
              <a:defRPr sz="2800">
                <a:gradFill>
                  <a:gsLst>
                    <a:gs pos="17593">
                      <a:srgbClr val="FFFFFF"/>
                    </a:gs>
                    <a:gs pos="46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516702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4638" y="3954457"/>
            <a:ext cx="6400800" cy="1830388"/>
          </a:xfrm>
          <a:noFill/>
        </p:spPr>
        <p:txBody>
          <a:bodyPr lIns="146304" tIns="109728" rIns="146304" bIns="109728">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7315200" cy="1837298"/>
          </a:xfrm>
          <a:noFill/>
        </p:spPr>
        <p:txBody>
          <a:bodyPr lIns="146304" tIns="91440" rIns="146304" bIns="91440" anchor="t" anchorCtr="0"/>
          <a:lstStyle>
            <a:lvl1pPr>
              <a:defRPr sz="4800" spc="-75" baseline="0">
                <a:gradFill>
                  <a:gsLst>
                    <a:gs pos="74747">
                      <a:schemeClr val="tx1"/>
                    </a:gs>
                    <a:gs pos="56000">
                      <a:schemeClr val="tx1"/>
                    </a:gs>
                  </a:gsLst>
                  <a:lin ang="5400000" scaled="0"/>
                </a:gradFill>
              </a:defRPr>
            </a:lvl1pPr>
          </a:lstStyle>
          <a:p>
            <a:r>
              <a:rPr lang="en-US" dirty="0"/>
              <a:t>Presentation title</a:t>
            </a:r>
          </a:p>
        </p:txBody>
      </p:sp>
      <p:grpSp>
        <p:nvGrpSpPr>
          <p:cNvPr id="6" name="Group 5"/>
          <p:cNvGrpSpPr>
            <a:grpSpLocks noChangeAspect="1"/>
          </p:cNvGrpSpPr>
          <p:nvPr userDrawn="1"/>
        </p:nvGrpSpPr>
        <p:grpSpPr bwMode="gray">
          <a:xfrm>
            <a:off x="457200" y="6239914"/>
            <a:ext cx="1280160" cy="274835"/>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9"/>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521117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8777288" cy="1969770"/>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000"/>
            </a:lvl2pPr>
            <a:lvl3pPr marL="171427" indent="0">
              <a:buNone/>
              <a:defRPr/>
            </a:lvl3pPr>
            <a:lvl4pPr marL="342854" indent="0">
              <a:buNone/>
              <a:defRPr/>
            </a:lvl4pPr>
            <a:lvl5pPr marL="51428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8133575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8777288" cy="2037481"/>
          </a:xfrm>
        </p:spPr>
        <p:txBody>
          <a:bodyPr wrap="square">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256608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211287"/>
            <a:ext cx="4206240" cy="2357568"/>
          </a:xfrm>
        </p:spPr>
        <p:txBody>
          <a:bodyPr wrap="square">
            <a:spAutoFit/>
          </a:bodyPr>
          <a:lstStyle>
            <a:lvl1pPr marL="0" indent="0">
              <a:spcBef>
                <a:spcPts val="918"/>
              </a:spcBef>
              <a:buClr>
                <a:schemeClr val="tx1"/>
              </a:buClr>
              <a:buFont typeface="Wingdings" pitchFamily="2" charset="2"/>
              <a:buNone/>
              <a:defRPr sz="3200"/>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846113" y="1211287"/>
            <a:ext cx="4206240" cy="2357568"/>
          </a:xfrm>
        </p:spPr>
        <p:txBody>
          <a:bodyPr wrap="square">
            <a:spAutoFit/>
          </a:bodyPr>
          <a:lstStyle>
            <a:lvl1pPr marL="0" indent="0">
              <a:spcBef>
                <a:spcPts val="918"/>
              </a:spcBef>
              <a:buClr>
                <a:schemeClr val="tx1"/>
              </a:buClr>
              <a:buFont typeface="Wingdings" pitchFamily="2" charset="2"/>
              <a:buNone/>
              <a:defRPr sz="3200"/>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481976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8777288" cy="1969770"/>
          </a:xfrm>
        </p:spPr>
        <p:txBody>
          <a:bodyPr lIns="164592" rIns="164592"/>
          <a:lstStyle>
            <a:lvl1pPr marL="0" indent="0">
              <a:buNone/>
              <a:defRPr sz="3600">
                <a:gradFill>
                  <a:gsLst>
                    <a:gs pos="1250">
                      <a:schemeClr val="tx2"/>
                    </a:gs>
                    <a:gs pos="99000">
                      <a:schemeClr val="tx2"/>
                    </a:gs>
                  </a:gsLst>
                  <a:lin ang="5400000" scaled="0"/>
                </a:gradFill>
              </a:defRPr>
            </a:lvl1pPr>
            <a:lvl2pPr marL="0" indent="0">
              <a:buFontTx/>
              <a:buNone/>
              <a:defRPr sz="2000"/>
            </a:lvl2pPr>
            <a:lvl3pPr marL="171427" indent="0">
              <a:buNone/>
              <a:defRPr/>
            </a:lvl3pPr>
            <a:lvl4pPr marL="342854" indent="0">
              <a:buNone/>
              <a:defRPr/>
            </a:lvl4pPr>
            <a:lvl5pPr marL="51428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514" y="1211287"/>
            <a:ext cx="4206240" cy="2357568"/>
          </a:xfrm>
        </p:spPr>
        <p:txBody>
          <a:bodyPr wrap="square">
            <a:spAutoFit/>
          </a:bodyPr>
          <a:lstStyle>
            <a:lvl1pPr marL="215475" indent="-215475">
              <a:spcBef>
                <a:spcPts val="918"/>
              </a:spcBef>
              <a:buClr>
                <a:schemeClr val="tx1"/>
              </a:buClr>
              <a:buFont typeface="Arial" pitchFamily="34" charset="0"/>
              <a:buChar char="•"/>
              <a:defRPr sz="3200"/>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846113" y="1211287"/>
            <a:ext cx="4206240" cy="2357568"/>
          </a:xfrm>
        </p:spPr>
        <p:txBody>
          <a:bodyPr wrap="square">
            <a:spAutoFit/>
          </a:bodyPr>
          <a:lstStyle>
            <a:lvl1pPr marL="215475" indent="-215475">
              <a:spcBef>
                <a:spcPts val="918"/>
              </a:spcBef>
              <a:buClr>
                <a:schemeClr val="tx1"/>
              </a:buClr>
              <a:buFont typeface="Arial" pitchFamily="34" charset="0"/>
              <a:buChar char="•"/>
              <a:defRPr sz="3200"/>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712589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1729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202" cy="2751698"/>
          </a:xfrm>
          <a:noFill/>
        </p:spPr>
        <p:txBody>
          <a:bodyPr tIns="91440" bIns="91440" anchor="t" anchorCtr="0"/>
          <a:lstStyle>
            <a:lvl1pPr>
              <a:defRPr sz="6000" spc="-75"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6"/>
            <a:ext cx="7315200" cy="1829593"/>
          </a:xfrm>
          <a:noFill/>
        </p:spPr>
        <p:txBody>
          <a:bodyPr lIns="182880" tIns="146304" rIns="182880" bIns="146304">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729089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7" y="1209973"/>
            <a:ext cx="7315201" cy="2751698"/>
          </a:xfrm>
          <a:noFill/>
        </p:spPr>
        <p:txBody>
          <a:bodyPr tIns="91440" bIns="91440" anchor="t" anchorCtr="0"/>
          <a:lstStyle>
            <a:lvl1pPr>
              <a:defRPr lang="en-US" sz="6000" b="0" kern="1200" cap="none" spc="-75"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25629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89431"/>
            <a:ext cx="8777288"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0528679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89431"/>
            <a:ext cx="8768201"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6143072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89431"/>
            <a:ext cx="8777288"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4964345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163" y="1241429"/>
            <a:ext cx="4206240" cy="1555554"/>
          </a:xfrm>
        </p:spPr>
        <p:txBody>
          <a:bodyPr wrap="square">
            <a:spAutoFit/>
          </a:bodyPr>
          <a:lstStyle>
            <a:lvl1pPr>
              <a:defRPr sz="494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4664075" y="0"/>
            <a:ext cx="4662488" cy="6994525"/>
          </a:xfrm>
          <a:blipFill>
            <a:blip r:embed="rId2"/>
            <a:stretch>
              <a:fillRect/>
            </a:stretch>
          </a:blipFill>
        </p:spPr>
        <p:txBody>
          <a:bodyPr lIns="0" tIns="0" rIns="0" bIns="0" anchor="ctr">
            <a:noAutofit/>
          </a:bodyPr>
          <a:lstStyle>
            <a:lvl1pPr marL="0" indent="0" algn="ctr">
              <a:lnSpc>
                <a:spcPct val="150000"/>
              </a:lnSpc>
              <a:spcBef>
                <a:spcPts val="0"/>
              </a:spcBef>
              <a:buNone/>
              <a:defRPr sz="2800"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544737985"/>
      </p:ext>
    </p:extLst>
  </p:cSld>
  <p:clrMapOvr>
    <a:masterClrMapping/>
  </p:clrMapOvr>
  <p:transition>
    <p:fade/>
  </p:transition>
  <p:extLst>
    <p:ext uri="{DCECCB84-F9BA-43D5-87BE-67443E8EF086}">
      <p15:sldGuideLst xmlns:p15="http://schemas.microsoft.com/office/powerpoint/2012/main">
        <p15:guide id="1" pos="2937"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364981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593899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8777288" cy="1969770"/>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000"/>
            </a:lvl2pPr>
            <a:lvl3pPr marL="171427" indent="0">
              <a:buNone/>
              <a:defRPr/>
            </a:lvl3pPr>
            <a:lvl4pPr marL="342854" indent="0">
              <a:buNone/>
              <a:defRPr/>
            </a:lvl4pPr>
            <a:lvl5pPr marL="51428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115217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786871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9326563"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6" tIns="34976" rIns="34976" bIns="34976" numCol="1" spcCol="0" rtlCol="0" fromWordArt="0" anchor="ctr" anchorCtr="0" forceAA="0" compatLnSpc="1">
            <a:prstTxWarp prst="textNoShape">
              <a:avLst/>
            </a:prstTxWarp>
            <a:noAutofit/>
          </a:bodyPr>
          <a:lstStyle/>
          <a:p>
            <a:pPr algn="ctr" defTabSz="699261" fontAlgn="base">
              <a:spcBef>
                <a:spcPct val="0"/>
              </a:spcBef>
              <a:spcAft>
                <a:spcPct val="0"/>
              </a:spcAft>
            </a:pPr>
            <a:endParaRPr lang="en-US" sz="13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60"/>
            <a:ext cx="8777287" cy="2037481"/>
          </a:xfrm>
        </p:spPr>
        <p:txBody>
          <a:bodyPr/>
          <a:lstStyle>
            <a:lvl1pPr marL="0" indent="0">
              <a:buNone/>
              <a:defRPr sz="3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988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38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108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8814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3828739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88702" y="6321406"/>
            <a:ext cx="8777288" cy="37625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699124" eaLnBrk="0" hangingPunct="0"/>
            <a:r>
              <a:rPr lang="en-US" sz="52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2" y="3145040"/>
            <a:ext cx="3288502" cy="704444"/>
          </a:xfrm>
          <a:prstGeom prst="rect">
            <a:avLst/>
          </a:prstGeom>
        </p:spPr>
      </p:pic>
    </p:spTree>
    <p:extLst>
      <p:ext uri="{BB962C8B-B14F-4D97-AF65-F5344CB8AC3E}">
        <p14:creationId xmlns:p14="http://schemas.microsoft.com/office/powerpoint/2010/main" val="88324886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8777288" cy="2443746"/>
          </a:xfrm>
          <a:prstGeom prst="rect">
            <a:avLst/>
          </a:prstGeom>
        </p:spPr>
        <p:txBody>
          <a:bodyPr/>
          <a:lstStyle>
            <a:lvl1pPr marL="217856" indent="-217856">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9326564"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2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458308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7819093" y="6182440"/>
            <a:ext cx="1164599" cy="332660"/>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9430" y="493940"/>
            <a:ext cx="5355642" cy="1323471"/>
          </a:xfrm>
          <a:prstGeom prst="rect">
            <a:avLst/>
          </a:prstGeom>
        </p:spPr>
      </p:pic>
    </p:spTree>
    <p:extLst>
      <p:ext uri="{BB962C8B-B14F-4D97-AF65-F5344CB8AC3E}">
        <p14:creationId xmlns:p14="http://schemas.microsoft.com/office/powerpoint/2010/main" val="3266147402"/>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2381" y="4395789"/>
            <a:ext cx="9324182" cy="2601913"/>
          </a:xfrm>
          <a:prstGeom prst="rect">
            <a:avLst/>
          </a:prstGeom>
          <a:solidFill>
            <a:srgbClr val="4DA0E2"/>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0" name="Rectangle 7"/>
          <p:cNvSpPr>
            <a:spLocks noChangeArrowheads="1"/>
          </p:cNvSpPr>
          <p:nvPr userDrawn="1"/>
        </p:nvSpPr>
        <p:spPr bwMode="auto">
          <a:xfrm>
            <a:off x="0" y="5843589"/>
            <a:ext cx="9324183" cy="1154113"/>
          </a:xfrm>
          <a:prstGeom prst="rect">
            <a:avLst/>
          </a:prstGeom>
          <a:solidFill>
            <a:srgbClr val="00188F"/>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1" name="Rectangle 8"/>
          <p:cNvSpPr>
            <a:spLocks noChangeArrowheads="1"/>
          </p:cNvSpPr>
          <p:nvPr userDrawn="1"/>
        </p:nvSpPr>
        <p:spPr bwMode="auto">
          <a:xfrm>
            <a:off x="2382" y="3409951"/>
            <a:ext cx="9321802"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3" name="Rectangle 12"/>
          <p:cNvSpPr/>
          <p:nvPr userDrawn="1"/>
        </p:nvSpPr>
        <p:spPr bwMode="white">
          <a:xfrm>
            <a:off x="0" y="-318"/>
            <a:ext cx="9326087"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07388" y="3954457"/>
            <a:ext cx="4799002" cy="1830388"/>
          </a:xfrm>
          <a:noFill/>
        </p:spPr>
        <p:txBody>
          <a:bodyPr lIns="146304" tIns="109728" rIns="146304" bIns="109728">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6010" y="2117165"/>
            <a:ext cx="7543110" cy="1837298"/>
          </a:xfrm>
          <a:noFill/>
        </p:spPr>
        <p:txBody>
          <a:bodyPr lIns="146304" tIns="91440" rIns="146304" bIns="91440" anchor="t" anchorCtr="0"/>
          <a:lstStyle>
            <a:lvl1pPr>
              <a:defRPr sz="4499" spc="-75"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43720" y="6182440"/>
            <a:ext cx="1164599" cy="332660"/>
          </a:xfrm>
          <a:prstGeom prst="rect">
            <a:avLst/>
          </a:prstGeom>
        </p:spPr>
      </p:pic>
      <p:sp>
        <p:nvSpPr>
          <p:cNvPr id="8" name="Rectangle 6"/>
          <p:cNvSpPr>
            <a:spLocks noChangeArrowheads="1"/>
          </p:cNvSpPr>
          <p:nvPr userDrawn="1"/>
        </p:nvSpPr>
        <p:spPr bwMode="auto">
          <a:xfrm>
            <a:off x="2381" y="4395789"/>
            <a:ext cx="9324182"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05961" y="296864"/>
            <a:ext cx="2742967" cy="392415"/>
          </a:xfrm>
        </p:spPr>
        <p:txBody>
          <a:bodyPr/>
          <a:lstStyle>
            <a:lvl1pPr marL="0" indent="0">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Session Code</a:t>
            </a:r>
          </a:p>
        </p:txBody>
      </p:sp>
      <p:sp>
        <p:nvSpPr>
          <p:cNvPr id="15" name="Text Placeholder 16"/>
          <p:cNvSpPr>
            <a:spLocks noGrp="1"/>
          </p:cNvSpPr>
          <p:nvPr>
            <p:ph type="body" sz="quarter" idx="14" hasCustomPrompt="1"/>
          </p:nvPr>
        </p:nvSpPr>
        <p:spPr>
          <a:xfrm>
            <a:off x="6377637" y="296864"/>
            <a:ext cx="2742967" cy="392415"/>
          </a:xfrm>
        </p:spPr>
        <p:txBody>
          <a:bodyPr/>
          <a:lstStyle>
            <a:lvl1pPr marL="0" indent="0" algn="r">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Yammer hashtag</a:t>
            </a:r>
          </a:p>
        </p:txBody>
      </p:sp>
    </p:spTree>
    <p:extLst>
      <p:ext uri="{BB962C8B-B14F-4D97-AF65-F5344CB8AC3E}">
        <p14:creationId xmlns:p14="http://schemas.microsoft.com/office/powerpoint/2010/main" val="130745733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p:ext uri="{DCECCB84-F9BA-43D5-87BE-67443E8EF086}">
      <p15:sldGuideLst xmlns:p15="http://schemas.microsoft.com/office/powerpoint/2012/main">
        <p15:guide id="4" orient="horz" pos="4406">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7388" y="3954457"/>
            <a:ext cx="4799002" cy="1830388"/>
          </a:xfrm>
          <a:noFill/>
        </p:spPr>
        <p:txBody>
          <a:bodyPr lIns="146304" tIns="109728" rIns="146304" bIns="109728">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6010" y="2117165"/>
            <a:ext cx="7543110" cy="1837298"/>
          </a:xfrm>
          <a:noFill/>
        </p:spPr>
        <p:txBody>
          <a:bodyPr lIns="146304" tIns="91440" rIns="146304" bIns="91440" anchor="t" anchorCtr="0"/>
          <a:lstStyle>
            <a:lvl1pPr>
              <a:defRPr sz="4499" spc="-75"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43720" y="6182440"/>
            <a:ext cx="1164599" cy="332660"/>
          </a:xfrm>
          <a:prstGeom prst="rect">
            <a:avLst/>
          </a:prstGeom>
        </p:spPr>
      </p:pic>
      <p:sp>
        <p:nvSpPr>
          <p:cNvPr id="8" name="Rectangle 6"/>
          <p:cNvSpPr>
            <a:spLocks noChangeArrowheads="1"/>
          </p:cNvSpPr>
          <p:nvPr userDrawn="1"/>
        </p:nvSpPr>
        <p:spPr bwMode="auto">
          <a:xfrm>
            <a:off x="2381" y="4395789"/>
            <a:ext cx="9324182"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05961" y="296864"/>
            <a:ext cx="2742967" cy="392415"/>
          </a:xfrm>
        </p:spPr>
        <p:txBody>
          <a:bodyPr/>
          <a:lstStyle>
            <a:lvl1pPr marL="0" indent="0">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Session Code</a:t>
            </a:r>
          </a:p>
        </p:txBody>
      </p:sp>
      <p:sp>
        <p:nvSpPr>
          <p:cNvPr id="10" name="Text Placeholder 16"/>
          <p:cNvSpPr>
            <a:spLocks noGrp="1"/>
          </p:cNvSpPr>
          <p:nvPr>
            <p:ph type="body" sz="quarter" idx="14" hasCustomPrompt="1"/>
          </p:nvPr>
        </p:nvSpPr>
        <p:spPr>
          <a:xfrm>
            <a:off x="6377637" y="296864"/>
            <a:ext cx="2742967" cy="392415"/>
          </a:xfrm>
        </p:spPr>
        <p:txBody>
          <a:bodyPr/>
          <a:lstStyle>
            <a:lvl1pPr marL="0" indent="0" algn="r">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Yammer hashtag</a:t>
            </a:r>
          </a:p>
        </p:txBody>
      </p:sp>
    </p:spTree>
    <p:extLst>
      <p:ext uri="{BB962C8B-B14F-4D97-AF65-F5344CB8AC3E}">
        <p14:creationId xmlns:p14="http://schemas.microsoft.com/office/powerpoint/2010/main" val="47423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408894236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5817591" y="304193"/>
            <a:ext cx="3306799" cy="6400800"/>
          </a:xfrm>
          <a:prstGeom prst="rect">
            <a:avLst/>
          </a:prstGeom>
        </p:spPr>
      </p:pic>
      <p:sp>
        <p:nvSpPr>
          <p:cNvPr id="4" name="Rectangle 3"/>
          <p:cNvSpPr/>
          <p:nvPr userDrawn="1"/>
        </p:nvSpPr>
        <p:spPr bwMode="auto">
          <a:xfrm>
            <a:off x="206009" y="1211287"/>
            <a:ext cx="7543110"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5962" y="1209973"/>
            <a:ext cx="5485066" cy="3475534"/>
          </a:xfrm>
          <a:noFill/>
        </p:spPr>
        <p:txBody>
          <a:bodyPr tIns="91440" bIns="91440" anchor="t" anchorCtr="0"/>
          <a:lstStyle>
            <a:lvl1pPr>
              <a:defRPr sz="5399" spc="-75"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5962" y="4685508"/>
            <a:ext cx="5485933" cy="1829593"/>
          </a:xfrm>
          <a:noFill/>
        </p:spPr>
        <p:txBody>
          <a:bodyPr lIns="182880" tIns="146304" rIns="182880" bIns="146304">
            <a:noAutofit/>
          </a:bodyPr>
          <a:lstStyle>
            <a:lvl1pPr marL="0" indent="0">
              <a:spcBef>
                <a:spcPts val="0"/>
              </a:spcBef>
              <a:buNone/>
              <a:defRPr sz="27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691983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8777288" cy="2037481"/>
          </a:xfrm>
        </p:spPr>
        <p:txBody>
          <a:bodyPr wrap="square">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06009" y="1211287"/>
            <a:ext cx="7543110"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5962" y="1209973"/>
            <a:ext cx="6857416" cy="2751698"/>
          </a:xfrm>
          <a:noFill/>
        </p:spPr>
        <p:txBody>
          <a:bodyPr tIns="91440" bIns="91440" anchor="t" anchorCtr="0"/>
          <a:lstStyle>
            <a:lvl1pPr>
              <a:defRPr sz="5399" spc="-75"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476" y="3410197"/>
            <a:ext cx="9326087" cy="3104213"/>
          </a:xfrm>
          <a:prstGeom prst="rect">
            <a:avLst/>
          </a:prstGeom>
        </p:spPr>
      </p:pic>
    </p:spTree>
    <p:extLst>
      <p:ext uri="{BB962C8B-B14F-4D97-AF65-F5344CB8AC3E}">
        <p14:creationId xmlns:p14="http://schemas.microsoft.com/office/powerpoint/2010/main" val="918588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3"/>
            <a:ext cx="8914642" cy="1831975"/>
          </a:xfrm>
          <a:noFill/>
        </p:spPr>
        <p:txBody>
          <a:bodyPr tIns="91440" bIns="91440" anchor="t" anchorCtr="0"/>
          <a:lstStyle>
            <a:lvl1pPr>
              <a:defRPr sz="6599" spc="-75"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7815341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3"/>
            <a:ext cx="8914642" cy="1831975"/>
          </a:xfrm>
          <a:noFill/>
        </p:spPr>
        <p:txBody>
          <a:bodyPr tIns="91440" bIns="91440" anchor="t" anchorCtr="0"/>
          <a:lstStyle>
            <a:lvl1pPr algn="l" defTabSz="699463" rtl="0" eaLnBrk="1" latinLnBrk="0" hangingPunct="1">
              <a:lnSpc>
                <a:spcPct val="90000"/>
              </a:lnSpc>
              <a:spcBef>
                <a:spcPct val="0"/>
              </a:spcBef>
              <a:buNone/>
              <a:defRPr lang="en-US" sz="6599" b="0" kern="1200" cap="none" spc="-75"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8014109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3"/>
            <a:ext cx="8914642" cy="1831975"/>
          </a:xfrm>
          <a:noFill/>
        </p:spPr>
        <p:txBody>
          <a:bodyPr tIns="91440" bIns="91440" anchor="t" anchorCtr="0"/>
          <a:lstStyle>
            <a:lvl1pPr algn="l" defTabSz="699463" rtl="0" eaLnBrk="1" latinLnBrk="0" hangingPunct="1">
              <a:lnSpc>
                <a:spcPct val="90000"/>
              </a:lnSpc>
              <a:spcBef>
                <a:spcPct val="0"/>
              </a:spcBef>
              <a:buNone/>
              <a:defRPr lang="en-US" sz="6599" b="0" kern="1200" cap="none" spc="-75"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75623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5962" y="1212850"/>
            <a:ext cx="8916415" cy="1565044"/>
          </a:xfrm>
        </p:spPr>
        <p:txBody>
          <a:bodyPr/>
          <a:lstStyle>
            <a:lvl1pPr marL="0" indent="0">
              <a:buNone/>
              <a:defRPr/>
            </a:lvl1pPr>
            <a:lvl2pPr marL="21428" indent="0">
              <a:buNone/>
              <a:defRPr sz="1500"/>
            </a:lvl2pPr>
            <a:lvl3pPr marL="167856" indent="0">
              <a:buNone/>
              <a:defRPr sz="1500"/>
            </a:lvl3pPr>
            <a:lvl4pPr marL="357140" indent="0">
              <a:buNone/>
              <a:defRPr sz="1350"/>
            </a:lvl4pPr>
            <a:lvl5pPr marL="554757" inden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08139855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1" y="1212850"/>
            <a:ext cx="8914642" cy="1717393"/>
          </a:xfrm>
        </p:spPr>
        <p:txBody>
          <a:bodyPr>
            <a:spAutoFit/>
          </a:bodyPr>
          <a:lstStyle>
            <a:lvl3pPr>
              <a:defRPr sz="18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4828144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49"/>
            <a:ext cx="4114449" cy="1948226"/>
          </a:xfrm>
        </p:spPr>
        <p:txBody>
          <a:bodyPr wrap="square">
            <a:spAutoFit/>
          </a:bodyPr>
          <a:lstStyle>
            <a:lvl1pPr marL="0" indent="0">
              <a:spcBef>
                <a:spcPts val="918"/>
              </a:spcBef>
              <a:buClr>
                <a:schemeClr val="tx1"/>
              </a:buClr>
              <a:buFont typeface="Wingdings" pitchFamily="2" charset="2"/>
              <a:buNone/>
              <a:defRPr sz="27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49"/>
            <a:ext cx="4114449" cy="1948226"/>
          </a:xfrm>
        </p:spPr>
        <p:txBody>
          <a:bodyPr wrap="square">
            <a:spAutoFit/>
          </a:bodyPr>
          <a:lstStyle>
            <a:lvl1pPr marL="0" indent="0">
              <a:spcBef>
                <a:spcPts val="918"/>
              </a:spcBef>
              <a:buClr>
                <a:schemeClr val="tx1"/>
              </a:buClr>
              <a:buFont typeface="Wingdings" pitchFamily="2" charset="2"/>
              <a:buNone/>
              <a:defRPr sz="27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7125570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50"/>
            <a:ext cx="4114449" cy="1999009"/>
          </a:xfrm>
        </p:spPr>
        <p:txBody>
          <a:bodyPr wrap="square">
            <a:spAutoFit/>
          </a:bodyPr>
          <a:lstStyle>
            <a:lvl1pPr marL="215475" indent="-215475">
              <a:spcBef>
                <a:spcPts val="918"/>
              </a:spcBef>
              <a:buClr>
                <a:schemeClr val="tx1"/>
              </a:buClr>
              <a:buFont typeface="Wingdings" panose="05000000000000000000" pitchFamily="2" charset="2"/>
              <a:buChar char="§"/>
              <a:defRPr sz="27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5006154" y="1212850"/>
            <a:ext cx="4114449" cy="1999009"/>
          </a:xfrm>
        </p:spPr>
        <p:txBody>
          <a:bodyPr wrap="square">
            <a:spAutoFit/>
          </a:bodyPr>
          <a:lstStyle>
            <a:lvl1pPr marL="215475" indent="-215475">
              <a:spcBef>
                <a:spcPts val="918"/>
              </a:spcBef>
              <a:buClr>
                <a:schemeClr val="tx1"/>
              </a:buClr>
              <a:buFont typeface="Wingdings" panose="05000000000000000000" pitchFamily="2" charset="2"/>
              <a:buChar char="§"/>
              <a:defRPr sz="27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01733800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55610060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11914" y="1211264"/>
            <a:ext cx="8916415" cy="917575"/>
          </a:xfrm>
        </p:spPr>
        <p:txBody>
          <a:bodyPr/>
          <a:lstStyle>
            <a:lvl1pPr>
              <a:defRPr sz="5399" baseline="0"/>
            </a:lvl1pPr>
          </a:lstStyle>
          <a:p>
            <a:r>
              <a:rPr lang="en-US" dirty="0"/>
              <a:t>Click to edit Master title style</a:t>
            </a:r>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7814196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8777288" cy="2037481"/>
          </a:xfrm>
        </p:spPr>
        <p:txBody>
          <a:bodyPr wrap="square">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1584785" y="2125663"/>
            <a:ext cx="6164335" cy="1828800"/>
          </a:xfrm>
        </p:spPr>
        <p:txBody>
          <a:bodyPr/>
          <a:lstStyle>
            <a:lvl1pPr>
              <a:defRPr sz="4499" baseline="0"/>
            </a:lvl1pPr>
          </a:lstStyle>
          <a:p>
            <a:r>
              <a:rPr lang="en-US" dirty="0"/>
              <a:t>Click to edit Master title style</a:t>
            </a:r>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1659664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84785" y="2125663"/>
            <a:ext cx="6164335" cy="1828800"/>
          </a:xfrm>
        </p:spPr>
        <p:txBody>
          <a:bodyPr/>
          <a:lstStyle>
            <a:lvl1pPr>
              <a:defRPr sz="4499" baseline="0"/>
            </a:lvl1pPr>
          </a:lstStyle>
          <a:p>
            <a:r>
              <a:rPr lang="en-US" dirty="0"/>
              <a:t>Click to edit Master title style</a:t>
            </a:r>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60102971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91703" y="1201807"/>
            <a:ext cx="7543158" cy="917575"/>
          </a:xfrm>
        </p:spPr>
        <p:txBody>
          <a:bodyPr/>
          <a:lstStyle>
            <a:lvl1pPr marL="174999" indent="-174999">
              <a:defRPr sz="44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4320411" y="5126038"/>
            <a:ext cx="4114450" cy="849463"/>
          </a:xfrm>
        </p:spPr>
        <p:txBody>
          <a:bodyPr/>
          <a:lstStyle>
            <a:lvl1pPr marL="0" indent="0">
              <a:spcBef>
                <a:spcPts val="0"/>
              </a:spcBef>
              <a:buNone/>
              <a:defRPr sz="24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847944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91703" y="2125664"/>
            <a:ext cx="7543158" cy="917575"/>
          </a:xfrm>
        </p:spPr>
        <p:txBody>
          <a:bodyPr/>
          <a:lstStyle>
            <a:lvl1pPr marL="211903" indent="-211903">
              <a:tabLst>
                <a:tab pos="211903" algn="l"/>
              </a:tabLst>
              <a:defRPr sz="44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320411" y="4868847"/>
            <a:ext cx="4114450" cy="849463"/>
          </a:xfrm>
        </p:spPr>
        <p:txBody>
          <a:bodyPr/>
          <a:lstStyle>
            <a:lvl1pPr marL="0" indent="0">
              <a:spcBef>
                <a:spcPts val="0"/>
              </a:spcBef>
              <a:buNone/>
              <a:defRPr sz="24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724583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11914" y="2430463"/>
            <a:ext cx="8914642" cy="745460"/>
          </a:xfrm>
        </p:spPr>
        <p:txBody>
          <a:bodyPr/>
          <a:lstStyle>
            <a:lvl1pPr marL="0" indent="0">
              <a:buNone/>
              <a:defRPr sz="4049">
                <a:gradFill>
                  <a:gsLst>
                    <a:gs pos="3333">
                      <a:schemeClr val="tx1"/>
                    </a:gs>
                    <a:gs pos="39000">
                      <a:schemeClr val="tx1"/>
                    </a:gs>
                  </a:gsLst>
                  <a:lin ang="5400000" scaled="0"/>
                </a:gradFill>
              </a:defRPr>
            </a:lvl1pPr>
            <a:lvl2pPr marL="0" indent="0">
              <a:buFontTx/>
              <a:buNone/>
              <a:defRPr sz="1500"/>
            </a:lvl2pPr>
            <a:lvl3pPr marL="171427" indent="0">
              <a:buNone/>
              <a:defRPr/>
            </a:lvl3pPr>
            <a:lvl4pPr marL="342854" indent="0">
              <a:buNone/>
              <a:defRPr/>
            </a:lvl4pPr>
            <a:lvl5pPr marL="514281" indent="0">
              <a:buNone/>
              <a:defRPr/>
            </a:lvl5pPr>
          </a:lstStyle>
          <a:p>
            <a:pPr lvl="0"/>
            <a:r>
              <a:rPr lang="en-US" dirty="0"/>
              <a:t>Click to edit Master text styles</a:t>
            </a:r>
          </a:p>
        </p:txBody>
      </p:sp>
      <p:sp>
        <p:nvSpPr>
          <p:cNvPr id="4" name="Title 1"/>
          <p:cNvSpPr>
            <a:spLocks noGrp="1"/>
          </p:cNvSpPr>
          <p:nvPr>
            <p:ph type="title"/>
          </p:nvPr>
        </p:nvSpPr>
        <p:spPr>
          <a:xfrm>
            <a:off x="211914" y="1211264"/>
            <a:ext cx="8916415" cy="917575"/>
          </a:xfrm>
        </p:spPr>
        <p:txBody>
          <a:bodyPr/>
          <a:lstStyle>
            <a:lvl1pPr>
              <a:defRPr sz="5399" baseline="0">
                <a:gradFill>
                  <a:gsLst>
                    <a:gs pos="1250">
                      <a:schemeClr val="tx1"/>
                    </a:gs>
                    <a:gs pos="100000">
                      <a:schemeClr val="tx1"/>
                    </a:gs>
                  </a:gsLst>
                  <a:lin ang="5400000" scaled="0"/>
                </a:gradFill>
              </a:defRPr>
            </a:lvl1pPr>
          </a:lstStyle>
          <a:p>
            <a:r>
              <a:rPr lang="en-US" dirty="0"/>
              <a:t>Click to edit Master title sty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1694012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2" y="1241427"/>
            <a:ext cx="4114449" cy="1798637"/>
          </a:xfrm>
        </p:spPr>
        <p:txBody>
          <a:bodyPr/>
          <a:lstStyle>
            <a:lvl1pPr>
              <a:defRPr sz="494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664472" y="1"/>
            <a:ext cx="4662091" cy="6992587"/>
          </a:xfrm>
          <a:blipFill>
            <a:blip r:embed="rId2"/>
            <a:stretch>
              <a:fillRect/>
            </a:stretch>
          </a:blipFill>
        </p:spPr>
        <p:txBody>
          <a:bodyPr tIns="548640" anchor="ctr" anchorCtr="0">
            <a:noAutofit/>
          </a:bodyPr>
          <a:lstStyle>
            <a:lvl1pPr marL="0" indent="0" algn="ctr">
              <a:buNone/>
              <a:defRPr sz="1200"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147477044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5006154" y="1241427"/>
            <a:ext cx="4114449" cy="917575"/>
          </a:xfrm>
        </p:spPr>
        <p:txBody>
          <a:bodyPr/>
          <a:lstStyle>
            <a:lvl1pPr>
              <a:defRPr sz="4949" baseline="0">
                <a:gradFill>
                  <a:gsLst>
                    <a:gs pos="1250">
                      <a:schemeClr val="tx1"/>
                    </a:gs>
                    <a:gs pos="100000">
                      <a:schemeClr val="tx1"/>
                    </a:gs>
                  </a:gsLst>
                  <a:lin ang="5400000" scaled="0"/>
                </a:gradFill>
              </a:defRPr>
            </a:lvl1pPr>
          </a:lstStyle>
          <a:p>
            <a:r>
              <a:rPr lang="en-US" dirty="0"/>
              <a:t>Click to edit Master title style</a:t>
            </a:r>
          </a:p>
        </p:txBody>
      </p:sp>
      <p:sp>
        <p:nvSpPr>
          <p:cNvPr id="4" name="Picture Placeholder 4"/>
          <p:cNvSpPr>
            <a:spLocks noGrp="1"/>
          </p:cNvSpPr>
          <p:nvPr>
            <p:ph type="pic" sz="quarter" idx="10"/>
          </p:nvPr>
        </p:nvSpPr>
        <p:spPr bwMode="ltGray">
          <a:xfrm>
            <a:off x="0" y="0"/>
            <a:ext cx="4662091" cy="6988560"/>
          </a:xfrm>
          <a:blipFill>
            <a:blip r:embed="rId2"/>
            <a:stretch>
              <a:fillRect/>
            </a:stretch>
          </a:blipFill>
        </p:spPr>
        <p:txBody>
          <a:bodyPr tIns="548640" anchor="ctr" anchorCtr="0">
            <a:noAutofit/>
          </a:bodyPr>
          <a:lstStyle>
            <a:lvl1pPr marL="0" indent="0" algn="ctr">
              <a:buNone/>
              <a:defRPr sz="1050"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277128754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9296840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9008851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435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49"/>
            <a:ext cx="4206240" cy="2357568"/>
          </a:xfrm>
        </p:spPr>
        <p:txBody>
          <a:bodyPr wrap="square">
            <a:spAutoFit/>
          </a:bodyPr>
          <a:lstStyle>
            <a:lvl1pPr marL="0" indent="0">
              <a:spcBef>
                <a:spcPts val="918"/>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846113" y="1211287"/>
            <a:ext cx="4206240" cy="2357568"/>
          </a:xfrm>
        </p:spPr>
        <p:txBody>
          <a:bodyPr wrap="square">
            <a:spAutoFit/>
          </a:bodyPr>
          <a:lstStyle>
            <a:lvl1pPr marL="0" indent="0">
              <a:spcBef>
                <a:spcPts val="918"/>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5961" y="1212850"/>
            <a:ext cx="8914642" cy="1878976"/>
          </a:xfrm>
          <a:prstGeom prst="rect">
            <a:avLst/>
          </a:prstGeom>
        </p:spPr>
        <p:txBody>
          <a:bodyPr/>
          <a:lstStyle>
            <a:lvl1pPr marL="217856" indent="-217856">
              <a:buClr>
                <a:schemeClr val="tx1"/>
              </a:buClr>
              <a:buSzPct val="90000"/>
              <a:buFont typeface="Wingdings" panose="05000000000000000000" pitchFamily="2" charset="2"/>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Wingdings" panose="05000000000000000000" pitchFamily="2" charset="2"/>
              <a:buChar char="§"/>
              <a:defRPr sz="21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Wingdings" panose="05000000000000000000" pitchFamily="2" charset="2"/>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Wingdings" panose="05000000000000000000" pitchFamily="2" charset="2"/>
              <a:buChar char="§"/>
              <a:defRPr sz="15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9326564"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327466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5962" y="1212850"/>
            <a:ext cx="8916415" cy="1565044"/>
          </a:xfrm>
        </p:spPr>
        <p:txBody>
          <a:bodyPr/>
          <a:lstStyle>
            <a:lvl1pPr marL="0" indent="0">
              <a:buNone/>
              <a:defRPr>
                <a:gradFill>
                  <a:gsLst>
                    <a:gs pos="2920">
                      <a:schemeClr val="tx2"/>
                    </a:gs>
                    <a:gs pos="39000">
                      <a:schemeClr val="tx2"/>
                    </a:gs>
                  </a:gsLst>
                  <a:lin ang="5400000" scaled="0"/>
                </a:gradFill>
              </a:defRPr>
            </a:lvl1pPr>
            <a:lvl2pPr marL="21428" indent="0">
              <a:buNone/>
              <a:defRPr sz="1500"/>
            </a:lvl2pPr>
            <a:lvl3pPr marL="167856" indent="0">
              <a:buNone/>
              <a:defRPr sz="1500"/>
            </a:lvl3pPr>
            <a:lvl4pPr marL="357140" indent="0">
              <a:buNone/>
              <a:defRPr sz="1350"/>
            </a:lvl4pPr>
            <a:lvl5pPr marL="554757" indent="0">
              <a:buNone/>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3255460" y="6717858"/>
            <a:ext cx="281564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685681" rtl="0" eaLnBrk="1" fontAlgn="auto" latinLnBrk="0" hangingPunct="1">
              <a:lnSpc>
                <a:spcPct val="100000"/>
              </a:lnSpc>
              <a:spcBef>
                <a:spcPts val="0"/>
              </a:spcBef>
              <a:spcAft>
                <a:spcPts val="0"/>
              </a:spcAft>
              <a:buClrTx/>
              <a:buSzTx/>
              <a:buFontTx/>
              <a:buNone/>
              <a:tabLst/>
              <a:defRPr/>
            </a:pPr>
            <a:r>
              <a:rPr kumimoji="0" lang="en-US" sz="787" b="0" i="0" u="none" strike="noStrike" kern="1200" cap="none" spc="112"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64400159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7819093" y="6182440"/>
            <a:ext cx="1164599" cy="332660"/>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9430" y="493940"/>
            <a:ext cx="5355642" cy="1323471"/>
          </a:xfrm>
          <a:prstGeom prst="rect">
            <a:avLst/>
          </a:prstGeom>
        </p:spPr>
      </p:pic>
    </p:spTree>
    <p:extLst>
      <p:ext uri="{BB962C8B-B14F-4D97-AF65-F5344CB8AC3E}">
        <p14:creationId xmlns:p14="http://schemas.microsoft.com/office/powerpoint/2010/main" val="2713118642"/>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2381" y="4395789"/>
            <a:ext cx="9324182" cy="2601913"/>
          </a:xfrm>
          <a:prstGeom prst="rect">
            <a:avLst/>
          </a:prstGeom>
          <a:solidFill>
            <a:srgbClr val="4DA0E2"/>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0" name="Rectangle 7"/>
          <p:cNvSpPr>
            <a:spLocks noChangeArrowheads="1"/>
          </p:cNvSpPr>
          <p:nvPr userDrawn="1"/>
        </p:nvSpPr>
        <p:spPr bwMode="auto">
          <a:xfrm>
            <a:off x="0" y="5843589"/>
            <a:ext cx="9324183" cy="1154113"/>
          </a:xfrm>
          <a:prstGeom prst="rect">
            <a:avLst/>
          </a:prstGeom>
          <a:solidFill>
            <a:srgbClr val="00188F"/>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1" name="Rectangle 8"/>
          <p:cNvSpPr>
            <a:spLocks noChangeArrowheads="1"/>
          </p:cNvSpPr>
          <p:nvPr userDrawn="1"/>
        </p:nvSpPr>
        <p:spPr bwMode="auto">
          <a:xfrm>
            <a:off x="2382" y="3409951"/>
            <a:ext cx="9321802"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3" name="Rectangle 12"/>
          <p:cNvSpPr/>
          <p:nvPr userDrawn="1"/>
        </p:nvSpPr>
        <p:spPr bwMode="white">
          <a:xfrm>
            <a:off x="0" y="-318"/>
            <a:ext cx="9326087"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07388" y="3954457"/>
            <a:ext cx="4799002" cy="1830388"/>
          </a:xfrm>
          <a:noFill/>
        </p:spPr>
        <p:txBody>
          <a:bodyPr lIns="146304" tIns="109728" rIns="146304" bIns="109728">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6010" y="2117165"/>
            <a:ext cx="7543110" cy="1837298"/>
          </a:xfrm>
          <a:noFill/>
        </p:spPr>
        <p:txBody>
          <a:bodyPr lIns="146304" tIns="91440" rIns="146304" bIns="91440" anchor="t" anchorCtr="0"/>
          <a:lstStyle>
            <a:lvl1pPr>
              <a:defRPr sz="4499" spc="-75"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43720" y="6182440"/>
            <a:ext cx="1164599" cy="332660"/>
          </a:xfrm>
          <a:prstGeom prst="rect">
            <a:avLst/>
          </a:prstGeom>
        </p:spPr>
      </p:pic>
      <p:sp>
        <p:nvSpPr>
          <p:cNvPr id="8" name="Rectangle 6"/>
          <p:cNvSpPr>
            <a:spLocks noChangeArrowheads="1"/>
          </p:cNvSpPr>
          <p:nvPr userDrawn="1"/>
        </p:nvSpPr>
        <p:spPr bwMode="auto">
          <a:xfrm>
            <a:off x="2381" y="4395789"/>
            <a:ext cx="9324182"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05961" y="296864"/>
            <a:ext cx="2742967" cy="392415"/>
          </a:xfrm>
        </p:spPr>
        <p:txBody>
          <a:bodyPr/>
          <a:lstStyle>
            <a:lvl1pPr marL="0" indent="0">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Session Code</a:t>
            </a:r>
          </a:p>
        </p:txBody>
      </p:sp>
      <p:sp>
        <p:nvSpPr>
          <p:cNvPr id="15" name="Text Placeholder 16"/>
          <p:cNvSpPr>
            <a:spLocks noGrp="1"/>
          </p:cNvSpPr>
          <p:nvPr>
            <p:ph type="body" sz="quarter" idx="14" hasCustomPrompt="1"/>
          </p:nvPr>
        </p:nvSpPr>
        <p:spPr>
          <a:xfrm>
            <a:off x="6377637" y="296864"/>
            <a:ext cx="2742967" cy="392415"/>
          </a:xfrm>
        </p:spPr>
        <p:txBody>
          <a:bodyPr/>
          <a:lstStyle>
            <a:lvl1pPr marL="0" indent="0" algn="r">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Yammer hashtag</a:t>
            </a:r>
          </a:p>
        </p:txBody>
      </p:sp>
    </p:spTree>
    <p:extLst>
      <p:ext uri="{BB962C8B-B14F-4D97-AF65-F5344CB8AC3E}">
        <p14:creationId xmlns:p14="http://schemas.microsoft.com/office/powerpoint/2010/main" val="284864739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p:ext uri="{DCECCB84-F9BA-43D5-87BE-67443E8EF086}">
      <p15:sldGuideLst xmlns:p15="http://schemas.microsoft.com/office/powerpoint/2012/main">
        <p15:guide id="4" orient="horz" pos="4406">
          <p15:clr>
            <a:srgbClr val="C35E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7388" y="3954457"/>
            <a:ext cx="4799002" cy="1830388"/>
          </a:xfrm>
          <a:noFill/>
        </p:spPr>
        <p:txBody>
          <a:bodyPr lIns="146304" tIns="109728" rIns="146304" bIns="109728">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6010" y="2117165"/>
            <a:ext cx="7543110" cy="1837298"/>
          </a:xfrm>
          <a:noFill/>
        </p:spPr>
        <p:txBody>
          <a:bodyPr lIns="146304" tIns="91440" rIns="146304" bIns="91440" anchor="t" anchorCtr="0"/>
          <a:lstStyle>
            <a:lvl1pPr>
              <a:defRPr sz="4499" spc="-75"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43720" y="6182440"/>
            <a:ext cx="1164599" cy="332660"/>
          </a:xfrm>
          <a:prstGeom prst="rect">
            <a:avLst/>
          </a:prstGeom>
        </p:spPr>
      </p:pic>
      <p:sp>
        <p:nvSpPr>
          <p:cNvPr id="8" name="Rectangle 6"/>
          <p:cNvSpPr>
            <a:spLocks noChangeArrowheads="1"/>
          </p:cNvSpPr>
          <p:nvPr userDrawn="1"/>
        </p:nvSpPr>
        <p:spPr bwMode="auto">
          <a:xfrm>
            <a:off x="2381" y="4395789"/>
            <a:ext cx="9324182"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4"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05961" y="296864"/>
            <a:ext cx="2742967" cy="392415"/>
          </a:xfrm>
        </p:spPr>
        <p:txBody>
          <a:bodyPr/>
          <a:lstStyle>
            <a:lvl1pPr marL="0" indent="0">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Session Code</a:t>
            </a:r>
          </a:p>
        </p:txBody>
      </p:sp>
      <p:sp>
        <p:nvSpPr>
          <p:cNvPr id="10" name="Text Placeholder 16"/>
          <p:cNvSpPr>
            <a:spLocks noGrp="1"/>
          </p:cNvSpPr>
          <p:nvPr>
            <p:ph type="body" sz="quarter" idx="14" hasCustomPrompt="1"/>
          </p:nvPr>
        </p:nvSpPr>
        <p:spPr>
          <a:xfrm>
            <a:off x="6377637" y="296864"/>
            <a:ext cx="2742967" cy="392415"/>
          </a:xfrm>
        </p:spPr>
        <p:txBody>
          <a:bodyPr/>
          <a:lstStyle>
            <a:lvl1pPr marL="0" indent="0" algn="r">
              <a:buNone/>
              <a:defRPr sz="1500">
                <a:latin typeface="+mn-lt"/>
              </a:defRPr>
            </a:lvl1pPr>
            <a:lvl2pPr marL="257141" indent="0">
              <a:buNone/>
              <a:defRPr sz="1500"/>
            </a:lvl2pPr>
            <a:lvl3pPr marL="428568" indent="0">
              <a:buNone/>
              <a:defRPr sz="1500"/>
            </a:lvl3pPr>
            <a:lvl4pPr marL="599995" indent="0">
              <a:buNone/>
              <a:defRPr sz="1500"/>
            </a:lvl4pPr>
            <a:lvl5pPr marL="771422" indent="0">
              <a:buNone/>
              <a:defRPr sz="1500"/>
            </a:lvl5pPr>
          </a:lstStyle>
          <a:p>
            <a:pPr lvl="0"/>
            <a:r>
              <a:rPr lang="en-US" dirty="0"/>
              <a:t>Yammer hashtag</a:t>
            </a:r>
          </a:p>
        </p:txBody>
      </p:sp>
    </p:spTree>
    <p:extLst>
      <p:ext uri="{BB962C8B-B14F-4D97-AF65-F5344CB8AC3E}">
        <p14:creationId xmlns:p14="http://schemas.microsoft.com/office/powerpoint/2010/main" val="130993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88550730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5817591" y="304193"/>
            <a:ext cx="3306799" cy="6400800"/>
          </a:xfrm>
          <a:prstGeom prst="rect">
            <a:avLst/>
          </a:prstGeom>
        </p:spPr>
      </p:pic>
      <p:sp>
        <p:nvSpPr>
          <p:cNvPr id="4" name="Rectangle 3"/>
          <p:cNvSpPr/>
          <p:nvPr userDrawn="1"/>
        </p:nvSpPr>
        <p:spPr bwMode="auto">
          <a:xfrm>
            <a:off x="206009" y="1211287"/>
            <a:ext cx="7543110"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5962" y="1209973"/>
            <a:ext cx="5485066" cy="3475534"/>
          </a:xfrm>
          <a:noFill/>
        </p:spPr>
        <p:txBody>
          <a:bodyPr tIns="91440" bIns="91440" anchor="t" anchorCtr="0"/>
          <a:lstStyle>
            <a:lvl1pPr>
              <a:defRPr sz="5399" spc="-75"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5962" y="4685508"/>
            <a:ext cx="5485933" cy="1829593"/>
          </a:xfrm>
          <a:noFill/>
        </p:spPr>
        <p:txBody>
          <a:bodyPr lIns="182880" tIns="146304" rIns="182880" bIns="146304">
            <a:noAutofit/>
          </a:bodyPr>
          <a:lstStyle>
            <a:lvl1pPr marL="0" indent="0">
              <a:spcBef>
                <a:spcPts val="0"/>
              </a:spcBef>
              <a:buNone/>
              <a:defRPr sz="27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634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06009" y="1211287"/>
            <a:ext cx="7543110"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5962" y="1209973"/>
            <a:ext cx="6857416" cy="2751698"/>
          </a:xfrm>
          <a:noFill/>
        </p:spPr>
        <p:txBody>
          <a:bodyPr tIns="91440" bIns="91440" anchor="t" anchorCtr="0"/>
          <a:lstStyle>
            <a:lvl1pPr>
              <a:defRPr sz="5399" spc="-75"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476" y="3410197"/>
            <a:ext cx="9326087" cy="3104213"/>
          </a:xfrm>
          <a:prstGeom prst="rect">
            <a:avLst/>
          </a:prstGeom>
        </p:spPr>
      </p:pic>
    </p:spTree>
    <p:extLst>
      <p:ext uri="{BB962C8B-B14F-4D97-AF65-F5344CB8AC3E}">
        <p14:creationId xmlns:p14="http://schemas.microsoft.com/office/powerpoint/2010/main" val="1660266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3"/>
            <a:ext cx="8914642" cy="1831975"/>
          </a:xfrm>
          <a:noFill/>
        </p:spPr>
        <p:txBody>
          <a:bodyPr tIns="91440" bIns="91440" anchor="t" anchorCtr="0"/>
          <a:lstStyle>
            <a:lvl1pPr>
              <a:defRPr sz="6599" spc="-75"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5498763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3"/>
            <a:ext cx="8914642" cy="1831975"/>
          </a:xfrm>
          <a:noFill/>
        </p:spPr>
        <p:txBody>
          <a:bodyPr tIns="91440" bIns="91440" anchor="t" anchorCtr="0"/>
          <a:lstStyle>
            <a:lvl1pPr algn="l" defTabSz="699463" rtl="0" eaLnBrk="1" latinLnBrk="0" hangingPunct="1">
              <a:lnSpc>
                <a:spcPct val="90000"/>
              </a:lnSpc>
              <a:spcBef>
                <a:spcPct val="0"/>
              </a:spcBef>
              <a:buNone/>
              <a:defRPr lang="en-US" sz="6599" b="0" kern="1200" cap="none" spc="-75"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77151037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1287"/>
            <a:ext cx="4206240" cy="2357568"/>
          </a:xfrm>
        </p:spPr>
        <p:txBody>
          <a:bodyPr wrap="square">
            <a:spAutoFit/>
          </a:bodyPr>
          <a:lstStyle>
            <a:lvl1pPr marL="0" indent="0">
              <a:spcBef>
                <a:spcPts val="918"/>
              </a:spcBef>
              <a:buClr>
                <a:schemeClr val="tx1"/>
              </a:buClr>
              <a:buFont typeface="Wingdings" pitchFamily="2" charset="2"/>
              <a:buNone/>
              <a:defRPr sz="3200"/>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846113" y="1211287"/>
            <a:ext cx="4206240" cy="2357568"/>
          </a:xfrm>
        </p:spPr>
        <p:txBody>
          <a:bodyPr wrap="square">
            <a:spAutoFit/>
          </a:bodyPr>
          <a:lstStyle>
            <a:lvl1pPr marL="0" indent="0">
              <a:spcBef>
                <a:spcPts val="918"/>
              </a:spcBef>
              <a:buClr>
                <a:schemeClr val="tx1"/>
              </a:buClr>
              <a:buFont typeface="Wingdings" pitchFamily="2" charset="2"/>
              <a:buNone/>
              <a:defRPr sz="3200"/>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3"/>
            <a:ext cx="8914642" cy="1831975"/>
          </a:xfrm>
          <a:noFill/>
        </p:spPr>
        <p:txBody>
          <a:bodyPr tIns="91440" bIns="91440" anchor="t" anchorCtr="0"/>
          <a:lstStyle>
            <a:lvl1pPr algn="l" defTabSz="699463" rtl="0" eaLnBrk="1" latinLnBrk="0" hangingPunct="1">
              <a:lnSpc>
                <a:spcPct val="90000"/>
              </a:lnSpc>
              <a:spcBef>
                <a:spcPct val="0"/>
              </a:spcBef>
              <a:buNone/>
              <a:defRPr lang="en-US" sz="6599" b="0" kern="1200" cap="none" spc="-75"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857021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5962" y="1212850"/>
            <a:ext cx="8916415" cy="1565044"/>
          </a:xfrm>
        </p:spPr>
        <p:txBody>
          <a:bodyPr/>
          <a:lstStyle>
            <a:lvl1pPr marL="0" indent="0">
              <a:buNone/>
              <a:defRPr/>
            </a:lvl1pPr>
            <a:lvl2pPr marL="21428" indent="0">
              <a:buNone/>
              <a:defRPr sz="1500"/>
            </a:lvl2pPr>
            <a:lvl3pPr marL="167856" indent="0">
              <a:buNone/>
              <a:defRPr sz="1500"/>
            </a:lvl3pPr>
            <a:lvl4pPr marL="357140" indent="0">
              <a:buNone/>
              <a:defRPr sz="1350"/>
            </a:lvl4pPr>
            <a:lvl5pPr marL="554757" indent="0">
              <a:buNone/>
              <a:defRPr sz="13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11014489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1" y="1212850"/>
            <a:ext cx="8914642" cy="1717393"/>
          </a:xfrm>
        </p:spPr>
        <p:txBody>
          <a:bodyPr>
            <a:spAutoFit/>
          </a:bodyPr>
          <a:lstStyle>
            <a:lvl3pPr>
              <a:defRPr sz="18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8122307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49"/>
            <a:ext cx="4114449" cy="1574277"/>
          </a:xfrm>
        </p:spPr>
        <p:txBody>
          <a:bodyPr wrap="square">
            <a:spAutoFit/>
          </a:bodyPr>
          <a:lstStyle>
            <a:lvl1pPr marL="0" indent="0">
              <a:spcBef>
                <a:spcPts val="918"/>
              </a:spcBef>
              <a:buClr>
                <a:schemeClr val="tx1"/>
              </a:buClr>
              <a:buFont typeface="Wingdings" pitchFamily="2" charset="2"/>
              <a:buNone/>
              <a:defRPr sz="27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49"/>
            <a:ext cx="4114449" cy="1574277"/>
          </a:xfrm>
        </p:spPr>
        <p:txBody>
          <a:bodyPr wrap="square">
            <a:spAutoFit/>
          </a:bodyPr>
          <a:lstStyle>
            <a:lvl1pPr marL="0" indent="0">
              <a:spcBef>
                <a:spcPts val="918"/>
              </a:spcBef>
              <a:buClr>
                <a:schemeClr val="tx1"/>
              </a:buClr>
              <a:buFont typeface="Wingdings" pitchFamily="2" charset="2"/>
              <a:buNone/>
              <a:defRPr sz="2700"/>
            </a:lvl1pPr>
            <a:lvl2pPr marL="0" indent="0">
              <a:buNone/>
              <a:defRPr sz="1500"/>
            </a:lvl2pPr>
            <a:lvl3pPr marL="173808" indent="0">
              <a:buNone/>
              <a:tabLst/>
              <a:defRPr sz="1500"/>
            </a:lvl3pPr>
            <a:lvl4pPr marL="345235" indent="0">
              <a:buNone/>
              <a:defRPr/>
            </a:lvl4pPr>
            <a:lvl5pPr marL="5142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19799939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5962" y="1212850"/>
            <a:ext cx="4114449" cy="1625060"/>
          </a:xfrm>
        </p:spPr>
        <p:txBody>
          <a:bodyPr wrap="square">
            <a:spAutoFit/>
          </a:bodyPr>
          <a:lstStyle>
            <a:lvl1pPr marL="215475" indent="-215475">
              <a:spcBef>
                <a:spcPts val="918"/>
              </a:spcBef>
              <a:buClr>
                <a:schemeClr val="tx1"/>
              </a:buClr>
              <a:buFont typeface="Wingdings" panose="05000000000000000000" pitchFamily="2" charset="2"/>
              <a:buChar char="§"/>
              <a:defRPr sz="27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06154" y="1212850"/>
            <a:ext cx="4114449" cy="1625060"/>
          </a:xfrm>
        </p:spPr>
        <p:txBody>
          <a:bodyPr wrap="square">
            <a:spAutoFit/>
          </a:bodyPr>
          <a:lstStyle>
            <a:lvl1pPr marL="215475" indent="-215475">
              <a:spcBef>
                <a:spcPts val="918"/>
              </a:spcBef>
              <a:buClr>
                <a:schemeClr val="tx1"/>
              </a:buClr>
              <a:buFont typeface="Wingdings" panose="05000000000000000000" pitchFamily="2" charset="2"/>
              <a:buChar char="§"/>
              <a:defRPr sz="2700"/>
            </a:lvl1pPr>
            <a:lvl2pPr marL="398321" indent="-174873">
              <a:defRPr sz="1800"/>
            </a:lvl2pPr>
            <a:lvl3pPr marL="524619" indent="-126297">
              <a:tabLst/>
              <a:defRPr sz="1500"/>
            </a:lvl3pPr>
            <a:lvl4pPr marL="660630" indent="-136012">
              <a:defRPr/>
            </a:lvl4pPr>
            <a:lvl5pPr marL="786928" indent="-1262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92094378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7530816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11914" y="1211264"/>
            <a:ext cx="8916415" cy="917575"/>
          </a:xfrm>
        </p:spPr>
        <p:txBody>
          <a:bodyPr/>
          <a:lstStyle>
            <a:lvl1pPr>
              <a:defRPr sz="5399" baseline="0"/>
            </a:lvl1pPr>
          </a:lstStyle>
          <a:p>
            <a:r>
              <a:rPr lang="en-US"/>
              <a:t>Click to edit Master title style</a:t>
            </a:r>
            <a:endParaRPr lang="en-US" dirty="0"/>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63369625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1584785" y="2125663"/>
            <a:ext cx="6164335" cy="1828800"/>
          </a:xfrm>
        </p:spPr>
        <p:txBody>
          <a:bodyPr/>
          <a:lstStyle>
            <a:lvl1pPr>
              <a:defRPr sz="4499" baseline="0"/>
            </a:lvl1pPr>
          </a:lstStyle>
          <a:p>
            <a:r>
              <a:rPr lang="en-US"/>
              <a:t>Click to edit Master title style</a:t>
            </a:r>
            <a:endParaRPr lang="en-US" dirty="0"/>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45754431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84785" y="2125663"/>
            <a:ext cx="6164335" cy="1828800"/>
          </a:xfrm>
        </p:spPr>
        <p:txBody>
          <a:bodyPr/>
          <a:lstStyle>
            <a:lvl1pPr>
              <a:defRPr sz="4499" baseline="0"/>
            </a:lvl1pPr>
          </a:lstStyle>
          <a:p>
            <a:r>
              <a:rPr lang="en-US"/>
              <a:t>Click to edit Master title style</a:t>
            </a:r>
            <a:endParaRPr lang="en-US" dirty="0"/>
          </a:p>
        </p:txBody>
      </p:sp>
      <p:sp>
        <p:nvSpPr>
          <p:cNvPr id="3"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685681" rtl="0" eaLnBrk="1" latinLnBrk="0" hangingPunct="1"/>
            <a:r>
              <a:rPr lang="en-US" sz="787" b="0" kern="1200" spc="112"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70332754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91703" y="1201807"/>
            <a:ext cx="7543158" cy="917575"/>
          </a:xfrm>
        </p:spPr>
        <p:txBody>
          <a:bodyPr/>
          <a:lstStyle>
            <a:lvl1pPr marL="174999" indent="-174999">
              <a:defRPr sz="44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4320411" y="5126038"/>
            <a:ext cx="4114450" cy="849463"/>
          </a:xfrm>
        </p:spPr>
        <p:txBody>
          <a:bodyPr/>
          <a:lstStyle>
            <a:lvl1pPr marL="0" indent="0">
              <a:spcBef>
                <a:spcPts val="0"/>
              </a:spcBef>
              <a:buNone/>
              <a:defRPr sz="24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4293678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209" y="1211287"/>
            <a:ext cx="4206240" cy="2357568"/>
          </a:xfrm>
        </p:spPr>
        <p:txBody>
          <a:bodyPr wrap="square">
            <a:spAutoFit/>
          </a:bodyPr>
          <a:lstStyle>
            <a:lvl1pPr marL="215475" indent="-215475">
              <a:spcBef>
                <a:spcPts val="918"/>
              </a:spcBef>
              <a:buClr>
                <a:schemeClr val="tx2"/>
              </a:buClr>
              <a:buFont typeface="Arial" pitchFamily="34" charset="0"/>
              <a:buChar char="•"/>
              <a:defRPr sz="3200">
                <a:gradFill>
                  <a:gsLst>
                    <a:gs pos="1250">
                      <a:schemeClr val="tx2"/>
                    </a:gs>
                    <a:gs pos="99000">
                      <a:schemeClr val="tx2"/>
                    </a:gs>
                  </a:gsLst>
                  <a:lin ang="5400000" scaled="0"/>
                </a:gradFill>
              </a:defRPr>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846113" y="1211287"/>
            <a:ext cx="4206240" cy="2357568"/>
          </a:xfrm>
        </p:spPr>
        <p:txBody>
          <a:bodyPr wrap="square">
            <a:spAutoFit/>
          </a:bodyPr>
          <a:lstStyle>
            <a:lvl1pPr marL="215475" indent="-215475">
              <a:spcBef>
                <a:spcPts val="918"/>
              </a:spcBef>
              <a:buClr>
                <a:schemeClr val="tx2"/>
              </a:buClr>
              <a:buFont typeface="Arial" pitchFamily="34" charset="0"/>
              <a:buChar char="•"/>
              <a:defRPr sz="3200">
                <a:gradFill>
                  <a:gsLst>
                    <a:gs pos="1250">
                      <a:schemeClr val="tx2"/>
                    </a:gs>
                    <a:gs pos="99000">
                      <a:schemeClr val="tx2"/>
                    </a:gs>
                  </a:gsLst>
                  <a:lin ang="5400000" scaled="0"/>
                </a:gradFill>
              </a:defRPr>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91703" y="2125664"/>
            <a:ext cx="7543158" cy="917575"/>
          </a:xfrm>
        </p:spPr>
        <p:txBody>
          <a:bodyPr/>
          <a:lstStyle>
            <a:lvl1pPr marL="211903" indent="-211903">
              <a:tabLst>
                <a:tab pos="211903" algn="l"/>
              </a:tabLst>
              <a:defRPr sz="44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320411" y="4868847"/>
            <a:ext cx="4114450" cy="849463"/>
          </a:xfrm>
        </p:spPr>
        <p:txBody>
          <a:bodyPr/>
          <a:lstStyle>
            <a:lvl1pPr marL="0" indent="0">
              <a:spcBef>
                <a:spcPts val="0"/>
              </a:spcBef>
              <a:buNone/>
              <a:defRPr sz="24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525539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11914" y="2430463"/>
            <a:ext cx="8914642" cy="745460"/>
          </a:xfrm>
        </p:spPr>
        <p:txBody>
          <a:bodyPr/>
          <a:lstStyle>
            <a:lvl1pPr marL="0" indent="0">
              <a:buNone/>
              <a:defRPr sz="4049">
                <a:gradFill>
                  <a:gsLst>
                    <a:gs pos="3333">
                      <a:schemeClr val="tx1"/>
                    </a:gs>
                    <a:gs pos="39000">
                      <a:schemeClr val="tx1"/>
                    </a:gs>
                  </a:gsLst>
                  <a:lin ang="5400000" scaled="0"/>
                </a:gradFill>
              </a:defRPr>
            </a:lvl1pPr>
            <a:lvl2pPr marL="0" indent="0">
              <a:buFontTx/>
              <a:buNone/>
              <a:defRPr sz="1500"/>
            </a:lvl2pPr>
            <a:lvl3pPr marL="171427" indent="0">
              <a:buNone/>
              <a:defRPr/>
            </a:lvl3pPr>
            <a:lvl4pPr marL="342854" indent="0">
              <a:buNone/>
              <a:defRPr/>
            </a:lvl4pPr>
            <a:lvl5pPr marL="514281" indent="0">
              <a:buNone/>
              <a:defRPr/>
            </a:lvl5pPr>
          </a:lstStyle>
          <a:p>
            <a:pPr lvl="0"/>
            <a:r>
              <a:rPr lang="en-US"/>
              <a:t>Edit Master text styles</a:t>
            </a:r>
          </a:p>
        </p:txBody>
      </p:sp>
      <p:sp>
        <p:nvSpPr>
          <p:cNvPr id="4" name="Title 1"/>
          <p:cNvSpPr>
            <a:spLocks noGrp="1"/>
          </p:cNvSpPr>
          <p:nvPr>
            <p:ph type="title"/>
          </p:nvPr>
        </p:nvSpPr>
        <p:spPr>
          <a:xfrm>
            <a:off x="211914" y="1211264"/>
            <a:ext cx="8916415" cy="917575"/>
          </a:xfrm>
        </p:spPr>
        <p:txBody>
          <a:bodyPr/>
          <a:lstStyle>
            <a:lvl1pPr>
              <a:defRPr sz="53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7691624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2" y="1241427"/>
            <a:ext cx="4114449" cy="1798637"/>
          </a:xfrm>
        </p:spPr>
        <p:txBody>
          <a:bodyPr/>
          <a:lstStyle>
            <a:lvl1pPr>
              <a:defRPr sz="494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664472" y="1"/>
            <a:ext cx="4662091" cy="6992587"/>
          </a:xfrm>
          <a:blipFill>
            <a:blip r:embed="rId2"/>
            <a:stretch>
              <a:fillRect/>
            </a:stretch>
          </a:blipFill>
        </p:spPr>
        <p:txBody>
          <a:bodyPr tIns="548640" anchor="ctr" anchorCtr="0">
            <a:noAutofit/>
          </a:bodyPr>
          <a:lstStyle>
            <a:lvl1pPr marL="0" indent="0" algn="ctr">
              <a:buNone/>
              <a:defRPr sz="12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4046991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5006154" y="1241427"/>
            <a:ext cx="4114449" cy="917575"/>
          </a:xfrm>
        </p:spPr>
        <p:txBody>
          <a:bodyPr/>
          <a:lstStyle>
            <a:lvl1pPr>
              <a:defRPr sz="494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4662091" cy="6988560"/>
          </a:xfrm>
          <a:blipFill>
            <a:blip r:embed="rId2"/>
            <a:stretch>
              <a:fillRect/>
            </a:stretch>
          </a:blipFill>
        </p:spPr>
        <p:txBody>
          <a:bodyPr tIns="548640" anchor="ctr" anchorCtr="0">
            <a:noAutofit/>
          </a:bodyPr>
          <a:lstStyle>
            <a:lvl1pPr marL="0" indent="0" algn="ctr">
              <a:buNone/>
              <a:defRPr sz="105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7106207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198421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8632273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3340419" y="6717858"/>
            <a:ext cx="2645724"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b="0" spc="112"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57889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5961" y="1212850"/>
            <a:ext cx="8914642" cy="1878976"/>
          </a:xfrm>
          <a:prstGeom prst="rect">
            <a:avLst/>
          </a:prstGeom>
        </p:spPr>
        <p:txBody>
          <a:bodyPr/>
          <a:lstStyle>
            <a:lvl1pPr marL="217856" indent="-217856">
              <a:buClr>
                <a:schemeClr val="tx1"/>
              </a:buClr>
              <a:buSzPct val="90000"/>
              <a:buFont typeface="Wingdings" panose="05000000000000000000" pitchFamily="2" charset="2"/>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Wingdings" panose="05000000000000000000" pitchFamily="2" charset="2"/>
              <a:buChar char="§"/>
              <a:defRPr sz="21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Wingdings" panose="05000000000000000000" pitchFamily="2" charset="2"/>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Wingdings" panose="05000000000000000000" pitchFamily="2" charset="2"/>
              <a:buChar char="§"/>
              <a:defRPr sz="15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9326564"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995967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TextBox 1"/>
          <p:cNvSpPr txBox="1"/>
          <p:nvPr userDrawn="1"/>
        </p:nvSpPr>
        <p:spPr>
          <a:xfrm>
            <a:off x="3683406" y="6696182"/>
            <a:ext cx="1966001" cy="298344"/>
          </a:xfrm>
          <a:prstGeom prst="rect">
            <a:avLst/>
          </a:prstGeom>
          <a:noFill/>
        </p:spPr>
        <p:txBody>
          <a:bodyPr wrap="none" lIns="100825" tIns="80659" rIns="100825" bIns="80659" rtlCol="0">
            <a:noAutofit/>
          </a:bodyPr>
          <a:lstStyle/>
          <a:p>
            <a:pPr defTabSz="514256">
              <a:lnSpc>
                <a:spcPct val="90000"/>
              </a:lnSpc>
              <a:spcAft>
                <a:spcPts val="331"/>
              </a:spcAft>
            </a:pPr>
            <a:r>
              <a:rPr lang="en-US" sz="661" dirty="0">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250258909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79765" y="-13507"/>
            <a:ext cx="9406327" cy="701596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343109" y="6161442"/>
            <a:ext cx="1234335" cy="353658"/>
          </a:xfrm>
          <a:prstGeom prst="rect">
            <a:avLst/>
          </a:prstGeom>
        </p:spPr>
      </p:pic>
      <p:sp>
        <p:nvSpPr>
          <p:cNvPr id="9" name="Title 1"/>
          <p:cNvSpPr>
            <a:spLocks noGrp="1"/>
          </p:cNvSpPr>
          <p:nvPr>
            <p:ph type="title" hasCustomPrompt="1"/>
          </p:nvPr>
        </p:nvSpPr>
        <p:spPr bwMode="auto">
          <a:xfrm>
            <a:off x="206009" y="2125677"/>
            <a:ext cx="4801383" cy="1828800"/>
          </a:xfrm>
          <a:noFill/>
        </p:spPr>
        <p:txBody>
          <a:bodyPr lIns="146304" tIns="91440" rIns="146304" bIns="91440" anchor="t" anchorCtr="0"/>
          <a:lstStyle>
            <a:lvl1pPr>
              <a:defRPr sz="4049" spc="-75" baseline="0">
                <a:solidFill>
                  <a:schemeClr val="tx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204770" y="3954458"/>
            <a:ext cx="4801383" cy="1825625"/>
          </a:xfrm>
        </p:spPr>
        <p:txBody>
          <a:bodyPr tIns="109728" bIns="109728">
            <a:noAutofit/>
          </a:bodyPr>
          <a:lstStyle>
            <a:lvl1pPr marL="0" indent="0">
              <a:spcBef>
                <a:spcPts val="0"/>
              </a:spcBef>
              <a:buNone/>
              <a:defRPr sz="2400">
                <a:solidFill>
                  <a:schemeClr val="tx1"/>
                </a:solidFill>
              </a:defRPr>
            </a:lvl1pPr>
          </a:lstStyle>
          <a:p>
            <a:pPr lvl="0"/>
            <a:r>
              <a:rPr lang="en-US" dirty="0"/>
              <a:t>Speaker Name</a:t>
            </a:r>
          </a:p>
        </p:txBody>
      </p:sp>
    </p:spTree>
    <p:extLst>
      <p:ext uri="{BB962C8B-B14F-4D97-AF65-F5344CB8AC3E}">
        <p14:creationId xmlns:p14="http://schemas.microsoft.com/office/powerpoint/2010/main" val="1174824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3" Type="http://schemas.openxmlformats.org/officeDocument/2006/relationships/slideLayout" Target="../slideLayouts/slideLayout207.xml"/><Relationship Id="rId21" Type="http://schemas.openxmlformats.org/officeDocument/2006/relationships/image" Target="../media/image39.emf"/><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theme" Target="../theme/theme10.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theme" Target="../theme/theme2.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image" Target="../media/image1.pn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theme" Target="../theme/theme3.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image" Target="../media/image1.png"/><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theme" Target="../theme/theme4.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image" Target="../media/image14.png"/><Relationship Id="rId3" Type="http://schemas.openxmlformats.org/officeDocument/2006/relationships/slideLayout" Target="../slideLayouts/slideLayout101.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theme" Target="../theme/theme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slideLayout" Target="../slideLayouts/slideLayout12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3.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image" Target="../media/image27.png"/><Relationship Id="rId5" Type="http://schemas.openxmlformats.org/officeDocument/2006/relationships/slideLayout" Target="../slideLayouts/slideLayout140.xml"/><Relationship Id="rId10" Type="http://schemas.openxmlformats.org/officeDocument/2006/relationships/theme" Target="../theme/theme6.xml"/><Relationship Id="rId4" Type="http://schemas.openxmlformats.org/officeDocument/2006/relationships/slideLayout" Target="../slideLayouts/slideLayout139.xml"/><Relationship Id="rId9" Type="http://schemas.openxmlformats.org/officeDocument/2006/relationships/slideLayout" Target="../slideLayouts/slideLayout14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slideLayout" Target="../slideLayouts/slideLayout170.x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29" Type="http://schemas.openxmlformats.org/officeDocument/2006/relationships/slideLayout" Target="../slideLayouts/slideLayout173.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26" Type="http://schemas.openxmlformats.org/officeDocument/2006/relationships/theme" Target="../theme/theme8.xml"/><Relationship Id="rId3" Type="http://schemas.openxmlformats.org/officeDocument/2006/relationships/slideLayout" Target="../slideLayouts/slideLayout176.xml"/><Relationship Id="rId21" Type="http://schemas.openxmlformats.org/officeDocument/2006/relationships/slideLayout" Target="../slideLayouts/slideLayout194.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5" Type="http://schemas.openxmlformats.org/officeDocument/2006/relationships/slideLayout" Target="../slideLayouts/slideLayout198.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slideLayout" Target="../slideLayouts/slideLayout193.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24" Type="http://schemas.openxmlformats.org/officeDocument/2006/relationships/slideLayout" Target="../slideLayouts/slideLayout197.xml"/><Relationship Id="rId5" Type="http://schemas.openxmlformats.org/officeDocument/2006/relationships/slideLayout" Target="../slideLayouts/slideLayout178.xml"/><Relationship Id="rId15" Type="http://schemas.openxmlformats.org/officeDocument/2006/relationships/slideLayout" Target="../slideLayouts/slideLayout188.xml"/><Relationship Id="rId23" Type="http://schemas.openxmlformats.org/officeDocument/2006/relationships/slideLayout" Target="../slideLayouts/slideLayout196.xml"/><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slideLayout" Target="../slideLayouts/slideLayout195.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201.xml"/><Relationship Id="rId7" Type="http://schemas.openxmlformats.org/officeDocument/2006/relationships/theme" Target="../theme/theme9.xml"/><Relationship Id="rId2" Type="http://schemas.openxmlformats.org/officeDocument/2006/relationships/slideLayout" Target="../slideLayouts/slideLayout20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5" Type="http://schemas.openxmlformats.org/officeDocument/2006/relationships/slideLayout" Target="../slideLayouts/slideLayout203.xml"/><Relationship Id="rId4" Type="http://schemas.openxmlformats.org/officeDocument/2006/relationships/slideLayout" Target="../slideLayouts/slideLayout20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7"/>
            <a:ext cx="87772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8" y="1212854"/>
            <a:ext cx="8777288" cy="20374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6170207" y="3162308"/>
            <a:ext cx="6995160" cy="670543"/>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290" r:id="rId23"/>
    <p:sldLayoutId id="2147484350" r:id="rId24"/>
  </p:sldLayoutIdLst>
  <p:transition>
    <p:fade/>
  </p:transition>
  <p:txStyles>
    <p:title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8" pos="3053" userDrawn="1">
          <p15:clr>
            <a:srgbClr val="5ACBF0"/>
          </p15:clr>
        </p15:guide>
        <p15:guide id="9" pos="3629" userDrawn="1">
          <p15:clr>
            <a:srgbClr val="5ACBF0"/>
          </p15:clr>
        </p15:guide>
        <p15:guide id="11" pos="4205" userDrawn="1">
          <p15:clr>
            <a:srgbClr val="5ACBF0"/>
          </p15:clr>
        </p15:guide>
        <p15:guide id="12" pos="4781" userDrawn="1">
          <p15:clr>
            <a:srgbClr val="5ACBF0"/>
          </p15:clr>
        </p15:guide>
        <p15:guide id="14" pos="5357" userDrawn="1">
          <p15:clr>
            <a:srgbClr val="5ACBF0"/>
          </p15:clr>
        </p15:guide>
        <p15:guide id="15" pos="5702" userDrawn="1">
          <p15:clr>
            <a:srgbClr val="5ACBF0"/>
          </p15:clr>
        </p15:guide>
        <p15:guide id="16" pos="288" userDrawn="1">
          <p15:clr>
            <a:srgbClr val="C35EA4"/>
          </p15:clr>
        </p15:guide>
        <p15:guide id="17" pos="5587"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5962" y="295275"/>
            <a:ext cx="8916415"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5963" y="1212852"/>
            <a:ext cx="8914640" cy="16158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6153630" y="3178567"/>
            <a:ext cx="6995160" cy="637390"/>
          </a:xfrm>
          <a:prstGeom prst="rect">
            <a:avLst/>
          </a:prstGeom>
        </p:spPr>
      </p:pic>
    </p:spTree>
    <p:extLst>
      <p:ext uri="{BB962C8B-B14F-4D97-AF65-F5344CB8AC3E}">
        <p14:creationId xmlns:p14="http://schemas.microsoft.com/office/powerpoint/2010/main" val="776281168"/>
      </p:ext>
    </p:extLst>
  </p:cSld>
  <p:clrMap bg1="lt1" tx1="dk1" bg2="lt2" tx2="dk2" accent1="accent1" accent2="accent2" accent3="accent3" accent4="accent4" accent5="accent5" accent6="accent6" hlink="hlink" folHlink="folHlink"/>
  <p:sldLayoutIdLst>
    <p:sldLayoutId id="2147484465" r:id="rId1"/>
    <p:sldLayoutId id="2147484466" r:id="rId2"/>
    <p:sldLayoutId id="2147484467" r:id="rId3"/>
    <p:sldLayoutId id="2147484468" r:id="rId4"/>
    <p:sldLayoutId id="2147484469" r:id="rId5"/>
    <p:sldLayoutId id="2147484470" r:id="rId6"/>
    <p:sldLayoutId id="2147484471" r:id="rId7"/>
    <p:sldLayoutId id="2147484472" r:id="rId8"/>
    <p:sldLayoutId id="2147484473" r:id="rId9"/>
    <p:sldLayoutId id="2147484474" r:id="rId10"/>
    <p:sldLayoutId id="2147484475" r:id="rId11"/>
    <p:sldLayoutId id="2147484476" r:id="rId12"/>
    <p:sldLayoutId id="2147484477" r:id="rId13"/>
    <p:sldLayoutId id="2147484478" r:id="rId14"/>
    <p:sldLayoutId id="2147484479" r:id="rId15"/>
    <p:sldLayoutId id="2147484480" r:id="rId16"/>
    <p:sldLayoutId id="2147484481" r:id="rId17"/>
    <p:sldLayoutId id="2147484482" r:id="rId18"/>
    <p:sldLayoutId id="2147484483" r:id="rId19"/>
  </p:sldLayoutIdLst>
  <p:transition>
    <p:fade/>
  </p:transition>
  <p:txStyles>
    <p:titleStyle>
      <a:lvl1pPr algn="l" defTabSz="699463" rtl="0" eaLnBrk="1" latinLnBrk="0" hangingPunct="1">
        <a:lnSpc>
          <a:spcPct val="90000"/>
        </a:lnSpc>
        <a:spcBef>
          <a:spcPct val="0"/>
        </a:spcBef>
        <a:buNone/>
        <a:defRPr lang="en-US" sz="36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000" kern="1200" spc="0" baseline="0">
          <a:gradFill>
            <a:gsLst>
              <a:gs pos="1250">
                <a:schemeClr val="tx1"/>
              </a:gs>
              <a:gs pos="100000">
                <a:schemeClr val="tx1"/>
              </a:gs>
            </a:gsLst>
            <a:lin ang="5400000" scaled="0"/>
          </a:gradFill>
          <a:latin typeface="+mj-lt"/>
          <a:ea typeface="+mn-ea"/>
          <a:cs typeface="+mn-cs"/>
        </a:defRPr>
      </a:lvl1pPr>
      <a:lvl2pPr marL="438092" marR="0" indent="-180951"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599995" marR="0" indent="-171427" algn="l" defTabSz="699463"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3pPr>
      <a:lvl4pPr marL="771422" marR="0" indent="-171427" algn="l" defTabSz="699463"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mn-cs"/>
        </a:defRPr>
      </a:lvl4pPr>
      <a:lvl5pPr marL="942849" marR="0" indent="-171427" algn="l" defTabSz="699463"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7"/>
            <a:ext cx="87772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38" y="1212854"/>
            <a:ext cx="8777288" cy="20374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6170207" y="3162308"/>
            <a:ext cx="6995160" cy="670543"/>
          </a:xfrm>
          <a:prstGeom prst="rect">
            <a:avLst/>
          </a:prstGeom>
        </p:spPr>
      </p:pic>
    </p:spTree>
    <p:extLst>
      <p:ext uri="{BB962C8B-B14F-4D97-AF65-F5344CB8AC3E}">
        <p14:creationId xmlns:p14="http://schemas.microsoft.com/office/powerpoint/2010/main" val="1972537229"/>
      </p:ext>
    </p:extLst>
  </p:cSld>
  <p:clrMap bg1="dk1" tx1="lt1" bg2="dk2" tx2="lt2" accent1="accent1" accent2="accent2" accent3="accent3" accent4="accent4" accent5="accent5" accent6="accent6" hlink="hlink" folHlink="folHlink"/>
  <p:sldLayoutIdLst>
    <p:sldLayoutId id="2147484291" r:id="rId1"/>
    <p:sldLayoutId id="2147484267" r:id="rId2"/>
    <p:sldLayoutId id="2147484269" r:id="rId3"/>
    <p:sldLayoutId id="2147484271" r:id="rId4"/>
    <p:sldLayoutId id="2147484273" r:id="rId5"/>
    <p:sldLayoutId id="2147484275" r:id="rId6"/>
    <p:sldLayoutId id="2147484276" r:id="rId7"/>
    <p:sldLayoutId id="2147484277" r:id="rId8"/>
    <p:sldLayoutId id="2147484278" r:id="rId9"/>
    <p:sldLayoutId id="2147484279" r:id="rId10"/>
    <p:sldLayoutId id="2147484280" r:id="rId11"/>
    <p:sldLayoutId id="2147484281" r:id="rId12"/>
    <p:sldLayoutId id="2147484282" r:id="rId13"/>
    <p:sldLayoutId id="2147484283" r:id="rId14"/>
    <p:sldLayoutId id="2147484284" r:id="rId15"/>
    <p:sldLayoutId id="2147484285" r:id="rId16"/>
    <p:sldLayoutId id="2147484286" r:id="rId17"/>
    <p:sldLayoutId id="2147484287" r:id="rId18"/>
    <p:sldLayoutId id="2147484288" r:id="rId19"/>
    <p:sldLayoutId id="2147484289" r:id="rId20"/>
  </p:sldLayoutIdLst>
  <p:transition>
    <p:fade/>
  </p:transition>
  <p:txStyles>
    <p:title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userDrawn="1">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702">
          <p15:clr>
            <a:srgbClr val="5ACBF0"/>
          </p15:clr>
        </p15:guide>
        <p15:guide id="13" pos="288">
          <p15:clr>
            <a:srgbClr val="C35EA4"/>
          </p15:clr>
        </p15:guide>
        <p15:guide id="14" pos="5587">
          <p15:clr>
            <a:srgbClr val="C35EA4"/>
          </p15:clr>
        </p15:guide>
        <p15:guide id="15" orient="horz" pos="763">
          <p15:clr>
            <a:srgbClr val="5ACBF0"/>
          </p15:clr>
        </p15:guide>
        <p15:guide id="16" orient="horz" pos="1339">
          <p15:clr>
            <a:srgbClr val="5ACBF0"/>
          </p15:clr>
        </p15:guide>
        <p15:guide id="17" orient="horz" pos="1915">
          <p15:clr>
            <a:srgbClr val="5ACBF0"/>
          </p15:clr>
        </p15:guide>
        <p15:guide id="18" orient="horz" pos="2491">
          <p15:clr>
            <a:srgbClr val="5ACBF0"/>
          </p15:clr>
        </p15:guide>
        <p15:guide id="19" orient="horz" pos="3067">
          <p15:clr>
            <a:srgbClr val="5ACBF0"/>
          </p15:clr>
        </p15:guide>
        <p15:guide id="20" orient="horz" pos="3643">
          <p15:clr>
            <a:srgbClr val="5ACBF0"/>
          </p15:clr>
        </p15:guide>
        <p15:guide id="21" orient="horz" pos="4219">
          <p15:clr>
            <a:srgbClr val="5ACBF0"/>
          </p15:clr>
        </p15:guide>
        <p15:guide id="22" orient="horz" pos="302">
          <p15:clr>
            <a:srgbClr val="C35EA4"/>
          </p15:clr>
        </p15:guide>
        <p15:guide id="23"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5962" y="295275"/>
            <a:ext cx="8916415"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5963" y="1212851"/>
            <a:ext cx="8914640" cy="171739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9"/>
          <a:stretch>
            <a:fillRect/>
          </a:stretch>
        </p:blipFill>
        <p:spPr>
          <a:xfrm rot="5400000">
            <a:off x="6241638" y="3162308"/>
            <a:ext cx="6995160" cy="670543"/>
          </a:xfrm>
          <a:prstGeom prst="rect">
            <a:avLst/>
          </a:prstGeom>
        </p:spPr>
      </p:pic>
    </p:spTree>
    <p:extLst>
      <p:ext uri="{BB962C8B-B14F-4D97-AF65-F5344CB8AC3E}">
        <p14:creationId xmlns:p14="http://schemas.microsoft.com/office/powerpoint/2010/main" val="1719873887"/>
      </p:ext>
    </p:extLst>
  </p:cSld>
  <p:clrMap bg1="dk1" tx1="lt1" bg2="dk2" tx2="lt2" accent1="accent1" accent2="accent2" accent3="accent3" accent4="accent4" accent5="accent5" accent6="accent6" hlink="hlink" folHlink="folHlink"/>
  <p:sldLayoutIdLst>
    <p:sldLayoutId id="2147484294" r:id="rId1"/>
    <p:sldLayoutId id="2147484295" r:id="rId2"/>
    <p:sldLayoutId id="2147484296" r:id="rId3"/>
    <p:sldLayoutId id="2147484297" r:id="rId4"/>
    <p:sldLayoutId id="2147484298" r:id="rId5"/>
    <p:sldLayoutId id="2147484299" r:id="rId6"/>
    <p:sldLayoutId id="2147484300" r:id="rId7"/>
    <p:sldLayoutId id="2147484301" r:id="rId8"/>
    <p:sldLayoutId id="2147484302" r:id="rId9"/>
    <p:sldLayoutId id="2147484303" r:id="rId10"/>
    <p:sldLayoutId id="2147484304" r:id="rId11"/>
    <p:sldLayoutId id="2147484305" r:id="rId12"/>
    <p:sldLayoutId id="2147484306" r:id="rId13"/>
    <p:sldLayoutId id="2147484307" r:id="rId14"/>
    <p:sldLayoutId id="2147484308" r:id="rId15"/>
    <p:sldLayoutId id="2147484309" r:id="rId16"/>
    <p:sldLayoutId id="2147484310" r:id="rId17"/>
    <p:sldLayoutId id="2147484311" r:id="rId18"/>
    <p:sldLayoutId id="2147484312" r:id="rId19"/>
    <p:sldLayoutId id="2147484313" r:id="rId20"/>
    <p:sldLayoutId id="2147484314" r:id="rId21"/>
    <p:sldLayoutId id="2147484315" r:id="rId22"/>
    <p:sldLayoutId id="2147484316" r:id="rId23"/>
    <p:sldLayoutId id="2147484317" r:id="rId24"/>
    <p:sldLayoutId id="2147484318" r:id="rId25"/>
    <p:sldLayoutId id="2147484319" r:id="rId26"/>
    <p:sldLayoutId id="2147484320" r:id="rId27"/>
  </p:sldLayoutIdLst>
  <p:transition>
    <p:fade/>
  </p:transition>
  <p:txStyles>
    <p:titleStyle>
      <a:lvl1pPr algn="l" defTabSz="699463" rtl="0" eaLnBrk="1" latinLnBrk="0" hangingPunct="1">
        <a:lnSpc>
          <a:spcPct val="90000"/>
        </a:lnSpc>
        <a:spcBef>
          <a:spcPct val="0"/>
        </a:spcBef>
        <a:buNone/>
        <a:defRPr lang="en-US" sz="4049"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38092" marR="0" indent="-180951" algn="l" defTabSz="6994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9995" marR="0" indent="-171427" algn="l" defTabSz="6994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771422" marR="0" indent="-171427" algn="l" defTabSz="6994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2849" marR="0" indent="-171427" algn="l" defTabSz="6994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5962" y="295275"/>
            <a:ext cx="8916415"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5963" y="1212851"/>
            <a:ext cx="8914640" cy="171739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9"/>
          <a:stretch>
            <a:fillRect/>
          </a:stretch>
        </p:blipFill>
        <p:spPr>
          <a:xfrm rot="5400000">
            <a:off x="6241638" y="3162308"/>
            <a:ext cx="6995160" cy="670543"/>
          </a:xfrm>
          <a:prstGeom prst="rect">
            <a:avLst/>
          </a:prstGeom>
        </p:spPr>
      </p:pic>
    </p:spTree>
    <p:extLst>
      <p:ext uri="{BB962C8B-B14F-4D97-AF65-F5344CB8AC3E}">
        <p14:creationId xmlns:p14="http://schemas.microsoft.com/office/powerpoint/2010/main" val="3243296404"/>
      </p:ext>
    </p:extLst>
  </p:cSld>
  <p:clrMap bg1="dk1" tx1="lt1" bg2="dk2" tx2="lt2" accent1="accent1" accent2="accent2" accent3="accent3" accent4="accent4" accent5="accent5" accent6="accent6" hlink="hlink" folHlink="folHlink"/>
  <p:sldLayoutIdLst>
    <p:sldLayoutId id="2147484323" r:id="rId1"/>
    <p:sldLayoutId id="2147484324" r:id="rId2"/>
    <p:sldLayoutId id="2147484325" r:id="rId3"/>
    <p:sldLayoutId id="2147484326" r:id="rId4"/>
    <p:sldLayoutId id="2147484327" r:id="rId5"/>
    <p:sldLayoutId id="2147484328" r:id="rId6"/>
    <p:sldLayoutId id="2147484329" r:id="rId7"/>
    <p:sldLayoutId id="2147484330" r:id="rId8"/>
    <p:sldLayoutId id="2147484331" r:id="rId9"/>
    <p:sldLayoutId id="2147484332" r:id="rId10"/>
    <p:sldLayoutId id="2147484333" r:id="rId11"/>
    <p:sldLayoutId id="2147484334" r:id="rId12"/>
    <p:sldLayoutId id="2147484335" r:id="rId13"/>
    <p:sldLayoutId id="2147484336" r:id="rId14"/>
    <p:sldLayoutId id="2147484337" r:id="rId15"/>
    <p:sldLayoutId id="2147484338" r:id="rId16"/>
    <p:sldLayoutId id="2147484339" r:id="rId17"/>
    <p:sldLayoutId id="2147484340" r:id="rId18"/>
    <p:sldLayoutId id="2147484341" r:id="rId19"/>
    <p:sldLayoutId id="2147484342" r:id="rId20"/>
    <p:sldLayoutId id="2147484343" r:id="rId21"/>
    <p:sldLayoutId id="2147484344" r:id="rId22"/>
    <p:sldLayoutId id="2147484345" r:id="rId23"/>
    <p:sldLayoutId id="2147484346" r:id="rId24"/>
    <p:sldLayoutId id="2147484347" r:id="rId25"/>
    <p:sldLayoutId id="2147484348" r:id="rId26"/>
    <p:sldLayoutId id="2147484349" r:id="rId27"/>
  </p:sldLayoutIdLst>
  <p:transition>
    <p:fade/>
  </p:transition>
  <p:txStyles>
    <p:titleStyle>
      <a:lvl1pPr algn="l" defTabSz="699463" rtl="0" eaLnBrk="1" latinLnBrk="0" hangingPunct="1">
        <a:lnSpc>
          <a:spcPct val="90000"/>
        </a:lnSpc>
        <a:spcBef>
          <a:spcPct val="0"/>
        </a:spcBef>
        <a:buNone/>
        <a:defRPr lang="en-US" sz="4049"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38092" marR="0" indent="-180951" algn="l" defTabSz="6994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9995" marR="0" indent="-171427" algn="l" defTabSz="6994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771422" marR="0" indent="-171427" algn="l" defTabSz="6994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2849" marR="0" indent="-171427" algn="l" defTabSz="6994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5962" y="295275"/>
            <a:ext cx="8916415"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5963" y="1212851"/>
            <a:ext cx="8914640" cy="130420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9" cstate="email">
            <a:extLst>
              <a:ext uri="{28A0092B-C50C-407E-A947-70E740481C1C}">
                <a14:useLocalDpi xmlns:a14="http://schemas.microsoft.com/office/drawing/2010/main" val="0"/>
              </a:ext>
            </a:extLst>
          </a:blip>
          <a:stretch>
            <a:fillRect/>
          </a:stretch>
        </p:blipFill>
        <p:spPr>
          <a:xfrm rot="5400000">
            <a:off x="6170207" y="3162308"/>
            <a:ext cx="6995160" cy="670543"/>
          </a:xfrm>
          <a:prstGeom prst="rect">
            <a:avLst/>
          </a:prstGeom>
        </p:spPr>
      </p:pic>
    </p:spTree>
    <p:extLst>
      <p:ext uri="{BB962C8B-B14F-4D97-AF65-F5344CB8AC3E}">
        <p14:creationId xmlns:p14="http://schemas.microsoft.com/office/powerpoint/2010/main" val="2369170159"/>
      </p:ext>
    </p:extLst>
  </p:cSld>
  <p:clrMap bg1="lt1" tx1="dk1" bg2="lt2" tx2="dk2" accent1="accent1" accent2="accent2" accent3="accent3" accent4="accent4" accent5="accent5" accent6="accent6" hlink="hlink" folHlink="folHlink"/>
  <p:sldLayoutIdLst>
    <p:sldLayoutId id="2147484352" r:id="rId1"/>
    <p:sldLayoutId id="2147484353" r:id="rId2"/>
    <p:sldLayoutId id="2147484354" r:id="rId3"/>
    <p:sldLayoutId id="2147484355" r:id="rId4"/>
    <p:sldLayoutId id="2147484356" r:id="rId5"/>
    <p:sldLayoutId id="2147484357" r:id="rId6"/>
    <p:sldLayoutId id="2147484358" r:id="rId7"/>
    <p:sldLayoutId id="2147484359" r:id="rId8"/>
    <p:sldLayoutId id="2147484360" r:id="rId9"/>
    <p:sldLayoutId id="2147484361" r:id="rId10"/>
    <p:sldLayoutId id="2147484362" r:id="rId11"/>
    <p:sldLayoutId id="2147484363" r:id="rId12"/>
    <p:sldLayoutId id="2147484364" r:id="rId13"/>
    <p:sldLayoutId id="2147484365" r:id="rId14"/>
    <p:sldLayoutId id="2147484366" r:id="rId15"/>
    <p:sldLayoutId id="2147484367" r:id="rId16"/>
    <p:sldLayoutId id="2147484368" r:id="rId17"/>
    <p:sldLayoutId id="2147484369" r:id="rId18"/>
    <p:sldLayoutId id="2147484370" r:id="rId19"/>
    <p:sldLayoutId id="2147484371" r:id="rId20"/>
    <p:sldLayoutId id="2147484372" r:id="rId21"/>
    <p:sldLayoutId id="2147484373" r:id="rId22"/>
    <p:sldLayoutId id="2147484374" r:id="rId23"/>
    <p:sldLayoutId id="2147484375" r:id="rId24"/>
    <p:sldLayoutId id="2147484376" r:id="rId25"/>
    <p:sldLayoutId id="2147484377" r:id="rId26"/>
    <p:sldLayoutId id="2147484378" r:id="rId27"/>
    <p:sldLayoutId id="2147484379" r:id="rId28"/>
    <p:sldLayoutId id="2147484380" r:id="rId29"/>
    <p:sldLayoutId id="2147484381" r:id="rId30"/>
    <p:sldLayoutId id="2147484382" r:id="rId31"/>
    <p:sldLayoutId id="2147484383" r:id="rId32"/>
    <p:sldLayoutId id="2147484384" r:id="rId33"/>
    <p:sldLayoutId id="2147484385" r:id="rId34"/>
    <p:sldLayoutId id="2147484386" r:id="rId35"/>
    <p:sldLayoutId id="2147484388" r:id="rId36"/>
    <p:sldLayoutId id="2147484389" r:id="rId37"/>
  </p:sldLayoutIdLst>
  <p:transition>
    <p:fade/>
  </p:transition>
  <p:txStyles>
    <p:titleStyle>
      <a:lvl1pPr algn="l" defTabSz="699463" rtl="0" eaLnBrk="1" latinLnBrk="0" hangingPunct="1">
        <a:lnSpc>
          <a:spcPct val="90000"/>
        </a:lnSpc>
        <a:spcBef>
          <a:spcPct val="0"/>
        </a:spcBef>
        <a:buNone/>
        <a:defRPr lang="en-US" sz="3000" b="0" kern="1200" cap="none" spc="-76" baseline="0" dirty="0" smtClean="0">
          <a:ln w="3175">
            <a:noFill/>
          </a:ln>
          <a:solidFill>
            <a:schemeClr val="tx2"/>
          </a:soli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accent1"/>
          </a:solidFill>
          <a:latin typeface="+mj-lt"/>
          <a:ea typeface="+mn-ea"/>
          <a:cs typeface="+mn-cs"/>
        </a:defRPr>
      </a:lvl1pPr>
      <a:lvl2pPr marL="438092" marR="0" indent="-180951" algn="l" defTabSz="699463"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mn-cs"/>
        </a:defRPr>
      </a:lvl2pPr>
      <a:lvl3pPr marL="599995" marR="0" indent="-171427" algn="l" defTabSz="699463"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771422" marR="0" indent="-171427" algn="l" defTabSz="699463" rtl="0" eaLnBrk="1" fontAlgn="auto" latinLnBrk="0" hangingPunct="1">
        <a:lnSpc>
          <a:spcPct val="90000"/>
        </a:lnSpc>
        <a:spcBef>
          <a:spcPct val="20000"/>
        </a:spcBef>
        <a:spcAft>
          <a:spcPts val="0"/>
        </a:spcAft>
        <a:buClrTx/>
        <a:buSzPct val="90000"/>
        <a:buFont typeface="Arial" pitchFamily="34" charset="0"/>
        <a:buChar char="•"/>
        <a:tabLst/>
        <a:defRPr sz="1050" kern="1200" spc="0" baseline="0">
          <a:gradFill>
            <a:gsLst>
              <a:gs pos="1250">
                <a:schemeClr val="tx1"/>
              </a:gs>
              <a:gs pos="100000">
                <a:schemeClr val="tx1"/>
              </a:gs>
            </a:gsLst>
            <a:lin ang="5400000" scaled="0"/>
          </a:gradFill>
          <a:latin typeface="+mn-lt"/>
          <a:ea typeface="+mn-ea"/>
          <a:cs typeface="+mn-cs"/>
        </a:defRPr>
      </a:lvl4pPr>
      <a:lvl5pPr marL="942849" marR="0" indent="-171427" algn="l" defTabSz="699463" rtl="0" eaLnBrk="1" fontAlgn="auto" latinLnBrk="0" hangingPunct="1">
        <a:lnSpc>
          <a:spcPct val="90000"/>
        </a:lnSpc>
        <a:spcBef>
          <a:spcPct val="20000"/>
        </a:spcBef>
        <a:spcAft>
          <a:spcPts val="0"/>
        </a:spcAft>
        <a:buClrTx/>
        <a:buSzPct val="90000"/>
        <a:buFont typeface="Arial" pitchFamily="34" charset="0"/>
        <a:buChar char="•"/>
        <a:tabLst/>
        <a:defRPr sz="10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5962" y="295276"/>
            <a:ext cx="8916415"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5963" y="1212853"/>
            <a:ext cx="8914640" cy="147271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rot="5400000">
            <a:off x="6170207" y="3162309"/>
            <a:ext cx="6995160" cy="670543"/>
          </a:xfrm>
          <a:prstGeom prst="rect">
            <a:avLst/>
          </a:prstGeom>
        </p:spPr>
      </p:pic>
    </p:spTree>
    <p:extLst>
      <p:ext uri="{BB962C8B-B14F-4D97-AF65-F5344CB8AC3E}">
        <p14:creationId xmlns:p14="http://schemas.microsoft.com/office/powerpoint/2010/main" val="228143893"/>
      </p:ext>
    </p:extLst>
  </p:cSld>
  <p:clrMap bg1="dk1" tx1="lt1" bg2="dk2" tx2="lt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6" r:id="rId5"/>
    <p:sldLayoutId id="2147484397" r:id="rId6"/>
    <p:sldLayoutId id="2147484398" r:id="rId7"/>
    <p:sldLayoutId id="2147484399" r:id="rId8"/>
    <p:sldLayoutId id="2147484400" r:id="rId9"/>
  </p:sldLayoutIdLst>
  <p:transition>
    <p:fade/>
  </p:transition>
  <p:txStyles>
    <p:titleStyle>
      <a:lvl1pPr algn="l" defTabSz="699329" rtl="0" eaLnBrk="1" latinLnBrk="0" hangingPunct="1">
        <a:lnSpc>
          <a:spcPct val="90000"/>
        </a:lnSpc>
        <a:spcBef>
          <a:spcPct val="0"/>
        </a:spcBef>
        <a:buNone/>
        <a:defRPr lang="en-US" sz="27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091" marR="0" indent="-257091" algn="l" defTabSz="699329" rtl="0" eaLnBrk="1" fontAlgn="auto" latinLnBrk="0" hangingPunct="1">
        <a:lnSpc>
          <a:spcPct val="90000"/>
        </a:lnSpc>
        <a:spcBef>
          <a:spcPct val="20000"/>
        </a:spcBef>
        <a:spcAft>
          <a:spcPts val="0"/>
        </a:spcAft>
        <a:buClrTx/>
        <a:buSzPct val="90000"/>
        <a:buFont typeface="Arial" pitchFamily="34" charset="0"/>
        <a:buChar char="•"/>
        <a:tabLst/>
        <a:defRPr sz="2754" kern="1200" spc="0" baseline="0">
          <a:gradFill>
            <a:gsLst>
              <a:gs pos="1250">
                <a:schemeClr val="tx1"/>
              </a:gs>
              <a:gs pos="100000">
                <a:schemeClr val="tx1"/>
              </a:gs>
            </a:gsLst>
            <a:lin ang="5400000" scaled="0"/>
          </a:gradFill>
          <a:latin typeface="+mj-lt"/>
          <a:ea typeface="+mn-ea"/>
          <a:cs typeface="+mn-cs"/>
        </a:defRPr>
      </a:lvl1pPr>
      <a:lvl2pPr marL="438008" marR="0" indent="-180916" algn="l" defTabSz="699329" rtl="0" eaLnBrk="1" fontAlgn="auto" latinLnBrk="0" hangingPunct="1">
        <a:lnSpc>
          <a:spcPct val="90000"/>
        </a:lnSpc>
        <a:spcBef>
          <a:spcPct val="20000"/>
        </a:spcBef>
        <a:spcAft>
          <a:spcPts val="0"/>
        </a:spcAft>
        <a:buClrTx/>
        <a:buSzPct val="90000"/>
        <a:buFont typeface="Arial" pitchFamily="34" charset="0"/>
        <a:buChar char="•"/>
        <a:tabLst/>
        <a:defRPr sz="1530" kern="1200" spc="0" baseline="0">
          <a:gradFill>
            <a:gsLst>
              <a:gs pos="1250">
                <a:schemeClr val="tx1"/>
              </a:gs>
              <a:gs pos="100000">
                <a:schemeClr val="tx1"/>
              </a:gs>
            </a:gsLst>
            <a:lin ang="5400000" scaled="0"/>
          </a:gradFill>
          <a:latin typeface="+mn-lt"/>
          <a:ea typeface="+mn-ea"/>
          <a:cs typeface="+mn-cs"/>
        </a:defRPr>
      </a:lvl2pPr>
      <a:lvl3pPr marL="599880" marR="0" indent="-171395" algn="l" defTabSz="699329" rtl="0" eaLnBrk="1" fontAlgn="auto" latinLnBrk="0" hangingPunct="1">
        <a:lnSpc>
          <a:spcPct val="90000"/>
        </a:lnSpc>
        <a:spcBef>
          <a:spcPct val="20000"/>
        </a:spcBef>
        <a:spcAft>
          <a:spcPts val="0"/>
        </a:spcAft>
        <a:buClrTx/>
        <a:buSzPct val="90000"/>
        <a:buFont typeface="Arial" pitchFamily="34" charset="0"/>
        <a:buChar char="•"/>
        <a:tabLst/>
        <a:defRPr sz="1377" kern="1200" spc="0" baseline="0">
          <a:gradFill>
            <a:gsLst>
              <a:gs pos="1250">
                <a:schemeClr val="tx1"/>
              </a:gs>
              <a:gs pos="100000">
                <a:schemeClr val="tx1"/>
              </a:gs>
            </a:gsLst>
            <a:lin ang="5400000" scaled="0"/>
          </a:gradFill>
          <a:latin typeface="+mn-lt"/>
          <a:ea typeface="+mn-ea"/>
          <a:cs typeface="+mn-cs"/>
        </a:defRPr>
      </a:lvl3pPr>
      <a:lvl4pPr marL="771274" marR="0" indent="-171395" algn="l" defTabSz="699329" rtl="0" eaLnBrk="1" fontAlgn="auto" latinLnBrk="0" hangingPunct="1">
        <a:lnSpc>
          <a:spcPct val="90000"/>
        </a:lnSpc>
        <a:spcBef>
          <a:spcPct val="20000"/>
        </a:spcBef>
        <a:spcAft>
          <a:spcPts val="0"/>
        </a:spcAft>
        <a:buClrTx/>
        <a:buSzPct val="90000"/>
        <a:buFont typeface="Arial" pitchFamily="34" charset="0"/>
        <a:buChar char="•"/>
        <a:tabLst/>
        <a:defRPr sz="1224" kern="1200" spc="0" baseline="0">
          <a:gradFill>
            <a:gsLst>
              <a:gs pos="1250">
                <a:schemeClr val="tx1"/>
              </a:gs>
              <a:gs pos="100000">
                <a:schemeClr val="tx1"/>
              </a:gs>
            </a:gsLst>
            <a:lin ang="5400000" scaled="0"/>
          </a:gradFill>
          <a:latin typeface="+mn-lt"/>
          <a:ea typeface="+mn-ea"/>
          <a:cs typeface="+mn-cs"/>
        </a:defRPr>
      </a:lvl4pPr>
      <a:lvl5pPr marL="942668" marR="0" indent="-171395" algn="l" defTabSz="699329" rtl="0" eaLnBrk="1" fontAlgn="auto" latinLnBrk="0" hangingPunct="1">
        <a:lnSpc>
          <a:spcPct val="90000"/>
        </a:lnSpc>
        <a:spcBef>
          <a:spcPct val="20000"/>
        </a:spcBef>
        <a:spcAft>
          <a:spcPts val="0"/>
        </a:spcAft>
        <a:buClrTx/>
        <a:buSzPct val="90000"/>
        <a:buFont typeface="Arial" pitchFamily="34" charset="0"/>
        <a:buChar char="•"/>
        <a:tabLst/>
        <a:defRPr sz="1224" kern="1200" spc="0" baseline="0">
          <a:gradFill>
            <a:gsLst>
              <a:gs pos="1250">
                <a:schemeClr val="tx1"/>
              </a:gs>
              <a:gs pos="100000">
                <a:schemeClr val="tx1"/>
              </a:gs>
            </a:gsLst>
            <a:lin ang="5400000" scaled="0"/>
          </a:gradFill>
          <a:latin typeface="+mn-lt"/>
          <a:ea typeface="+mn-ea"/>
          <a:cs typeface="+mn-cs"/>
        </a:defRPr>
      </a:lvl5pPr>
      <a:lvl6pPr marL="1923155" indent="-174832" algn="l" defTabSz="69932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2819" indent="-174832" algn="l" defTabSz="69932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484" indent="-174832" algn="l" defTabSz="69932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149" indent="-174832" algn="l" defTabSz="699329"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329" rtl="0" eaLnBrk="1" latinLnBrk="0" hangingPunct="1">
        <a:defRPr sz="1350" kern="1200">
          <a:solidFill>
            <a:schemeClr val="tx1"/>
          </a:solidFill>
          <a:latin typeface="+mn-lt"/>
          <a:ea typeface="+mn-ea"/>
          <a:cs typeface="+mn-cs"/>
        </a:defRPr>
      </a:lvl1pPr>
      <a:lvl2pPr marL="349664" algn="l" defTabSz="699329" rtl="0" eaLnBrk="1" latinLnBrk="0" hangingPunct="1">
        <a:defRPr sz="1350" kern="1200">
          <a:solidFill>
            <a:schemeClr val="tx1"/>
          </a:solidFill>
          <a:latin typeface="+mn-lt"/>
          <a:ea typeface="+mn-ea"/>
          <a:cs typeface="+mn-cs"/>
        </a:defRPr>
      </a:lvl2pPr>
      <a:lvl3pPr marL="699329" algn="l" defTabSz="699329" rtl="0" eaLnBrk="1" latinLnBrk="0" hangingPunct="1">
        <a:defRPr sz="1350" kern="1200">
          <a:solidFill>
            <a:schemeClr val="tx1"/>
          </a:solidFill>
          <a:latin typeface="+mn-lt"/>
          <a:ea typeface="+mn-ea"/>
          <a:cs typeface="+mn-cs"/>
        </a:defRPr>
      </a:lvl3pPr>
      <a:lvl4pPr marL="1048993" algn="l" defTabSz="699329" rtl="0" eaLnBrk="1" latinLnBrk="0" hangingPunct="1">
        <a:defRPr sz="1350" kern="1200">
          <a:solidFill>
            <a:schemeClr val="tx1"/>
          </a:solidFill>
          <a:latin typeface="+mn-lt"/>
          <a:ea typeface="+mn-ea"/>
          <a:cs typeface="+mn-cs"/>
        </a:defRPr>
      </a:lvl4pPr>
      <a:lvl5pPr marL="1398658" algn="l" defTabSz="699329" rtl="0" eaLnBrk="1" latinLnBrk="0" hangingPunct="1">
        <a:defRPr sz="1350" kern="1200">
          <a:solidFill>
            <a:schemeClr val="tx1"/>
          </a:solidFill>
          <a:latin typeface="+mn-lt"/>
          <a:ea typeface="+mn-ea"/>
          <a:cs typeface="+mn-cs"/>
        </a:defRPr>
      </a:lvl5pPr>
      <a:lvl6pPr marL="1748323" algn="l" defTabSz="699329" rtl="0" eaLnBrk="1" latinLnBrk="0" hangingPunct="1">
        <a:defRPr sz="1350" kern="1200">
          <a:solidFill>
            <a:schemeClr val="tx1"/>
          </a:solidFill>
          <a:latin typeface="+mn-lt"/>
          <a:ea typeface="+mn-ea"/>
          <a:cs typeface="+mn-cs"/>
        </a:defRPr>
      </a:lvl6pPr>
      <a:lvl7pPr marL="2097987" algn="l" defTabSz="699329" rtl="0" eaLnBrk="1" latinLnBrk="0" hangingPunct="1">
        <a:defRPr sz="1350" kern="1200">
          <a:solidFill>
            <a:schemeClr val="tx1"/>
          </a:solidFill>
          <a:latin typeface="+mn-lt"/>
          <a:ea typeface="+mn-ea"/>
          <a:cs typeface="+mn-cs"/>
        </a:defRPr>
      </a:lvl7pPr>
      <a:lvl8pPr marL="2447651" algn="l" defTabSz="699329" rtl="0" eaLnBrk="1" latinLnBrk="0" hangingPunct="1">
        <a:defRPr sz="1350" kern="1200">
          <a:solidFill>
            <a:schemeClr val="tx1"/>
          </a:solidFill>
          <a:latin typeface="+mn-lt"/>
          <a:ea typeface="+mn-ea"/>
          <a:cs typeface="+mn-cs"/>
        </a:defRPr>
      </a:lvl8pPr>
      <a:lvl9pPr marL="2797317" algn="l" defTabSz="69932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5962" y="295275"/>
            <a:ext cx="8916415"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5963" y="1212852"/>
            <a:ext cx="8914640" cy="16158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9463419" y="5995"/>
            <a:ext cx="737333" cy="5760970"/>
            <a:chOff x="12618967" y="5995"/>
            <a:chExt cx="983195" cy="5760970"/>
          </a:xfrm>
        </p:grpSpPr>
        <p:grpSp>
          <p:nvGrpSpPr>
            <p:cNvPr id="18" name="Group 17"/>
            <p:cNvGrpSpPr/>
            <p:nvPr userDrawn="1"/>
          </p:nvGrpSpPr>
          <p:grpSpPr>
            <a:xfrm>
              <a:off x="12618967" y="5995"/>
              <a:ext cx="983195" cy="5401028"/>
              <a:chOff x="12618967" y="5995"/>
              <a:chExt cx="983195" cy="5401028"/>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699261" fontAlgn="base">
                    <a:lnSpc>
                      <a:spcPct val="100000"/>
                    </a:lnSpc>
                    <a:spcBef>
                      <a:spcPct val="0"/>
                    </a:spcBef>
                    <a:spcAft>
                      <a:spcPct val="0"/>
                    </a:spcAft>
                  </a:pPr>
                  <a:r>
                    <a:rPr lang="en-US" sz="375"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699261" fontAlgn="base">
                    <a:lnSpc>
                      <a:spcPct val="100000"/>
                    </a:lnSpc>
                    <a:spcBef>
                      <a:spcPct val="0"/>
                    </a:spcBef>
                    <a:spcAft>
                      <a:spcPct val="0"/>
                    </a:spcAft>
                  </a:pPr>
                  <a:r>
                    <a:rPr lang="en-US" sz="375" dirty="0">
                      <a:gradFill>
                        <a:gsLst>
                          <a:gs pos="0">
                            <a:srgbClr val="FFFFFF"/>
                          </a:gs>
                          <a:gs pos="100000">
                            <a:srgbClr val="FFFFFF"/>
                          </a:gs>
                        </a:gsLst>
                        <a:lin ang="5400000" scaled="0"/>
                      </a:gradFill>
                      <a:ea typeface="Segoe UI" pitchFamily="34" charset="0"/>
                      <a:cs typeface="Segoe UI" pitchFamily="34" charset="0"/>
                    </a:rPr>
                    <a:t>R:</a:t>
                  </a:r>
                  <a:r>
                    <a:rPr lang="en-US" sz="375" baseline="0" dirty="0">
                      <a:gradFill>
                        <a:gsLst>
                          <a:gs pos="0">
                            <a:srgbClr val="FFFFFF"/>
                          </a:gs>
                          <a:gs pos="100000">
                            <a:srgbClr val="FFFFFF"/>
                          </a:gs>
                        </a:gsLst>
                        <a:lin ang="5400000" scaled="0"/>
                      </a:gradFill>
                      <a:ea typeface="Segoe UI" pitchFamily="34" charset="0"/>
                      <a:cs typeface="Segoe UI" pitchFamily="34" charset="0"/>
                    </a:rPr>
                    <a:t>216 G:59 B:1</a:t>
                  </a:r>
                  <a:endParaRPr lang="en-US" sz="375"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699261" fontAlgn="base">
                    <a:lnSpc>
                      <a:spcPct val="100000"/>
                    </a:lnSpc>
                    <a:spcBef>
                      <a:spcPct val="0"/>
                    </a:spcBef>
                    <a:spcAft>
                      <a:spcPct val="0"/>
                    </a:spcAft>
                  </a:pPr>
                  <a:r>
                    <a:rPr lang="en-US" sz="375"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699261" fontAlgn="base">
                    <a:lnSpc>
                      <a:spcPct val="100000"/>
                    </a:lnSpc>
                    <a:spcBef>
                      <a:spcPct val="0"/>
                    </a:spcBef>
                    <a:spcAft>
                      <a:spcPct val="0"/>
                    </a:spcAft>
                  </a:pPr>
                  <a:r>
                    <a:rPr lang="en-US" sz="375" dirty="0">
                      <a:gradFill>
                        <a:gsLst>
                          <a:gs pos="0">
                            <a:srgbClr val="FFFFFF"/>
                          </a:gs>
                          <a:gs pos="100000">
                            <a:srgbClr val="FFFFFF"/>
                          </a:gs>
                        </a:gsLst>
                        <a:lin ang="5400000" scaled="0"/>
                      </a:gradFill>
                      <a:ea typeface="Segoe UI" pitchFamily="34" charset="0"/>
                      <a:cs typeface="Segoe UI" pitchFamily="34" charset="0"/>
                    </a:rPr>
                    <a:t>R:</a:t>
                  </a:r>
                  <a:r>
                    <a:rPr lang="en-US" sz="375"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375"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699261" fontAlgn="base">
                    <a:lnSpc>
                      <a:spcPct val="100000"/>
                    </a:lnSpc>
                    <a:spcBef>
                      <a:spcPct val="0"/>
                    </a:spcBef>
                    <a:spcAft>
                      <a:spcPct val="0"/>
                    </a:spcAft>
                  </a:pPr>
                  <a:r>
                    <a:rPr lang="en-US" sz="375" dirty="0">
                      <a:gradFill>
                        <a:gsLst>
                          <a:gs pos="10042">
                            <a:schemeClr val="tx1"/>
                          </a:gs>
                          <a:gs pos="39000">
                            <a:schemeClr val="tx1"/>
                          </a:gs>
                        </a:gsLst>
                        <a:lin ang="5400000" scaled="0"/>
                      </a:gradFill>
                      <a:ea typeface="Segoe UI" pitchFamily="34" charset="0"/>
                      <a:cs typeface="Segoe UI" pitchFamily="34" charset="0"/>
                    </a:rPr>
                    <a:t>R:</a:t>
                  </a:r>
                  <a:r>
                    <a:rPr lang="en-US" sz="375"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375"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699261" fontAlgn="base">
                    <a:lnSpc>
                      <a:spcPct val="100000"/>
                    </a:lnSpc>
                    <a:spcBef>
                      <a:spcPct val="0"/>
                    </a:spcBef>
                    <a:spcAft>
                      <a:spcPct val="0"/>
                    </a:spcAft>
                  </a:pPr>
                  <a:r>
                    <a:rPr lang="en-US" sz="375" dirty="0">
                      <a:gradFill>
                        <a:gsLst>
                          <a:gs pos="2092">
                            <a:srgbClr val="F8F8F8"/>
                          </a:gs>
                          <a:gs pos="10042">
                            <a:srgbClr val="F8F8F8"/>
                          </a:gs>
                        </a:gsLst>
                        <a:lin ang="5400000" scaled="0"/>
                      </a:gradFill>
                      <a:ea typeface="Segoe UI" pitchFamily="34" charset="0"/>
                      <a:cs typeface="Segoe UI" pitchFamily="34" charset="0"/>
                    </a:rPr>
                    <a:t>R:</a:t>
                  </a:r>
                  <a:r>
                    <a:rPr lang="en-US" sz="375"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375"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699261" fontAlgn="base">
                    <a:lnSpc>
                      <a:spcPct val="100000"/>
                    </a:lnSpc>
                    <a:spcBef>
                      <a:spcPct val="0"/>
                    </a:spcBef>
                    <a:spcAft>
                      <a:spcPct val="0"/>
                    </a:spcAft>
                  </a:pPr>
                  <a:r>
                    <a:rPr lang="en-US" sz="375" dirty="0">
                      <a:gradFill>
                        <a:gsLst>
                          <a:gs pos="2092">
                            <a:srgbClr val="F8F8F8"/>
                          </a:gs>
                          <a:gs pos="10042">
                            <a:srgbClr val="F8F8F8"/>
                          </a:gs>
                        </a:gsLst>
                        <a:lin ang="5400000" scaled="0"/>
                      </a:gradFill>
                      <a:ea typeface="Segoe UI" pitchFamily="34" charset="0"/>
                      <a:cs typeface="Segoe UI" pitchFamily="34" charset="0"/>
                    </a:rPr>
                    <a:t>R:</a:t>
                  </a:r>
                  <a:r>
                    <a:rPr lang="en-US" sz="375"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375"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699261" rtl="0" eaLnBrk="1" fontAlgn="base" latinLnBrk="0" hangingPunct="1">
                    <a:lnSpc>
                      <a:spcPct val="100000"/>
                    </a:lnSpc>
                    <a:spcBef>
                      <a:spcPct val="0"/>
                    </a:spcBef>
                    <a:spcAft>
                      <a:spcPct val="0"/>
                    </a:spcAft>
                  </a:pPr>
                  <a:r>
                    <a:rPr lang="en-US" sz="375"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699261" rtl="0" eaLnBrk="1" fontAlgn="base" latinLnBrk="0" hangingPunct="1">
                    <a:lnSpc>
                      <a:spcPct val="100000"/>
                    </a:lnSpc>
                    <a:spcBef>
                      <a:spcPct val="0"/>
                    </a:spcBef>
                    <a:spcAft>
                      <a:spcPct val="0"/>
                    </a:spcAft>
                  </a:pPr>
                  <a:r>
                    <a:rPr lang="en-US" sz="375"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699261" rtl="0" eaLnBrk="1" fontAlgn="base" latinLnBrk="0" hangingPunct="1">
                    <a:lnSpc>
                      <a:spcPct val="100000"/>
                    </a:lnSpc>
                    <a:spcBef>
                      <a:spcPct val="0"/>
                    </a:spcBef>
                    <a:spcAft>
                      <a:spcPct val="0"/>
                    </a:spcAft>
                  </a:pPr>
                  <a:r>
                    <a:rPr lang="en-US" sz="375"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3069788" y="229373"/>
                <a:ext cx="679994" cy="384754"/>
              </a:xfrm>
              <a:prstGeom prst="rect">
                <a:avLst/>
              </a:prstGeom>
              <a:noFill/>
            </p:spPr>
            <p:txBody>
              <a:bodyPr wrap="none" lIns="0" tIns="91440" rIns="182880" bIns="91440" rtlCol="0">
                <a:spAutoFit/>
              </a:bodyPr>
              <a:lstStyle/>
              <a:p>
                <a:pPr>
                  <a:lnSpc>
                    <a:spcPct val="90000"/>
                  </a:lnSpc>
                  <a:spcAft>
                    <a:spcPts val="450"/>
                  </a:spcAft>
                </a:pPr>
                <a:r>
                  <a:rPr lang="en-US" sz="75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2055456" y="4199785"/>
                <a:ext cx="2029723" cy="384754"/>
              </a:xfrm>
              <a:prstGeom prst="rect">
                <a:avLst/>
              </a:prstGeom>
              <a:noFill/>
            </p:spPr>
            <p:txBody>
              <a:bodyPr wrap="none" lIns="0" tIns="91440" rIns="182880" bIns="91440" rtlCol="0">
                <a:spAutoFit/>
              </a:bodyPr>
              <a:lstStyle/>
              <a:p>
                <a:pPr>
                  <a:lnSpc>
                    <a:spcPct val="90000"/>
                  </a:lnSpc>
                  <a:spcAft>
                    <a:spcPts val="450"/>
                  </a:spcAft>
                </a:pPr>
                <a:r>
                  <a:rPr lang="en-US" sz="750" dirty="0">
                    <a:gradFill>
                      <a:gsLst>
                        <a:gs pos="2917">
                          <a:schemeClr val="tx1"/>
                        </a:gs>
                        <a:gs pos="30000">
                          <a:schemeClr val="tx1"/>
                        </a:gs>
                      </a:gsLst>
                      <a:lin ang="5400000" scaled="0"/>
                    </a:gradFill>
                  </a:rPr>
                  <a:t>Secondary colors (use only when</a:t>
                </a:r>
                <a:r>
                  <a:rPr lang="en-US" sz="750" baseline="0" dirty="0">
                    <a:gradFill>
                      <a:gsLst>
                        <a:gs pos="2917">
                          <a:schemeClr val="tx1"/>
                        </a:gs>
                        <a:gs pos="30000">
                          <a:schemeClr val="tx1"/>
                        </a:gs>
                      </a:gsLst>
                      <a:lin ang="5400000" scaled="0"/>
                    </a:gradFill>
                  </a:rPr>
                  <a:t> necessary)</a:t>
                </a:r>
                <a:endParaRPr lang="en-US" sz="75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699261" rtl="0" eaLnBrk="1" fontAlgn="base" latinLnBrk="0" hangingPunct="1">
                <a:lnSpc>
                  <a:spcPct val="100000"/>
                </a:lnSpc>
                <a:spcBef>
                  <a:spcPct val="0"/>
                </a:spcBef>
                <a:spcAft>
                  <a:spcPct val="0"/>
                </a:spcAft>
              </a:pPr>
              <a:r>
                <a:rPr lang="en-US" sz="375"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3157492124"/>
      </p:ext>
    </p:extLst>
  </p:cSld>
  <p:clrMap bg1="lt1" tx1="dk1" bg2="lt2" tx2="dk2" accent1="accent1" accent2="accent2" accent3="accent3" accent4="accent4" accent5="accent5" accent6="accent6" hlink="hlink" folHlink="folHlink"/>
  <p:sldLayoutIdLst>
    <p:sldLayoutId id="2147484402" r:id="rId1"/>
    <p:sldLayoutId id="2147484403" r:id="rId2"/>
    <p:sldLayoutId id="2147484404" r:id="rId3"/>
    <p:sldLayoutId id="2147484405" r:id="rId4"/>
    <p:sldLayoutId id="2147484406" r:id="rId5"/>
    <p:sldLayoutId id="2147484407" r:id="rId6"/>
    <p:sldLayoutId id="2147484408" r:id="rId7"/>
    <p:sldLayoutId id="2147484409" r:id="rId8"/>
    <p:sldLayoutId id="2147484410" r:id="rId9"/>
    <p:sldLayoutId id="2147484411" r:id="rId10"/>
    <p:sldLayoutId id="2147484412" r:id="rId11"/>
    <p:sldLayoutId id="2147484413" r:id="rId12"/>
    <p:sldLayoutId id="2147484414" r:id="rId13"/>
    <p:sldLayoutId id="2147484415" r:id="rId14"/>
    <p:sldLayoutId id="2147484416" r:id="rId15"/>
    <p:sldLayoutId id="2147484417" r:id="rId16"/>
    <p:sldLayoutId id="2147484418" r:id="rId17"/>
    <p:sldLayoutId id="2147484419" r:id="rId18"/>
    <p:sldLayoutId id="2147484420" r:id="rId19"/>
    <p:sldLayoutId id="2147484421" r:id="rId20"/>
    <p:sldLayoutId id="2147484422" r:id="rId21"/>
    <p:sldLayoutId id="2147484423" r:id="rId22"/>
    <p:sldLayoutId id="2147484424" r:id="rId23"/>
    <p:sldLayoutId id="2147484425" r:id="rId24"/>
    <p:sldLayoutId id="2147484426" r:id="rId25"/>
    <p:sldLayoutId id="2147484427" r:id="rId26"/>
    <p:sldLayoutId id="2147484428" r:id="rId27"/>
    <p:sldLayoutId id="2147484429" r:id="rId28"/>
    <p:sldLayoutId id="2147484430" r:id="rId29"/>
  </p:sldLayoutIdLst>
  <p:transition>
    <p:fade/>
  </p:transition>
  <p:txStyles>
    <p:titleStyle>
      <a:lvl1pPr algn="l" defTabSz="699463" rtl="0" eaLnBrk="1" latinLnBrk="0" hangingPunct="1">
        <a:lnSpc>
          <a:spcPct val="90000"/>
        </a:lnSpc>
        <a:spcBef>
          <a:spcPct val="0"/>
        </a:spcBef>
        <a:buNone/>
        <a:defRPr lang="en-US" sz="36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38092" marR="0" indent="-180951"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9995" marR="0" indent="-171427"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3pPr>
      <a:lvl4pPr marL="771422" marR="0" indent="-171427"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50" kern="1200" spc="0" baseline="0">
          <a:gradFill>
            <a:gsLst>
              <a:gs pos="1250">
                <a:schemeClr val="tx1"/>
              </a:gs>
              <a:gs pos="100000">
                <a:schemeClr val="tx1"/>
              </a:gs>
            </a:gsLst>
            <a:lin ang="5400000" scaled="0"/>
          </a:gradFill>
          <a:latin typeface="+mn-lt"/>
          <a:ea typeface="+mn-ea"/>
          <a:cs typeface="+mn-cs"/>
        </a:defRPr>
      </a:lvl4pPr>
      <a:lvl5pPr marL="942849" marR="0" indent="-171427"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5962" y="295275"/>
            <a:ext cx="8916415"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5963" y="1212852"/>
            <a:ext cx="8914640" cy="16158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9463419" y="5995"/>
            <a:ext cx="737333" cy="5760970"/>
            <a:chOff x="12618967" y="5995"/>
            <a:chExt cx="983195" cy="5760970"/>
          </a:xfrm>
        </p:grpSpPr>
        <p:grpSp>
          <p:nvGrpSpPr>
            <p:cNvPr id="18" name="Group 17"/>
            <p:cNvGrpSpPr/>
            <p:nvPr userDrawn="1"/>
          </p:nvGrpSpPr>
          <p:grpSpPr>
            <a:xfrm>
              <a:off x="12618967" y="5995"/>
              <a:ext cx="983195" cy="5401028"/>
              <a:chOff x="12618967" y="5995"/>
              <a:chExt cx="983195" cy="5401028"/>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699261" fontAlgn="base">
                    <a:lnSpc>
                      <a:spcPct val="100000"/>
                    </a:lnSpc>
                    <a:spcBef>
                      <a:spcPct val="0"/>
                    </a:spcBef>
                    <a:spcAft>
                      <a:spcPct val="0"/>
                    </a:spcAft>
                  </a:pPr>
                  <a:r>
                    <a:rPr lang="en-US" sz="375"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699261" fontAlgn="base">
                    <a:lnSpc>
                      <a:spcPct val="100000"/>
                    </a:lnSpc>
                    <a:spcBef>
                      <a:spcPct val="0"/>
                    </a:spcBef>
                    <a:spcAft>
                      <a:spcPct val="0"/>
                    </a:spcAft>
                  </a:pPr>
                  <a:r>
                    <a:rPr lang="en-US" sz="375" dirty="0">
                      <a:gradFill>
                        <a:gsLst>
                          <a:gs pos="0">
                            <a:srgbClr val="FFFFFF"/>
                          </a:gs>
                          <a:gs pos="100000">
                            <a:srgbClr val="FFFFFF"/>
                          </a:gs>
                        </a:gsLst>
                        <a:lin ang="5400000" scaled="0"/>
                      </a:gradFill>
                      <a:ea typeface="Segoe UI" pitchFamily="34" charset="0"/>
                      <a:cs typeface="Segoe UI" pitchFamily="34" charset="0"/>
                    </a:rPr>
                    <a:t>R:</a:t>
                  </a:r>
                  <a:r>
                    <a:rPr lang="en-US" sz="375" baseline="0" dirty="0">
                      <a:gradFill>
                        <a:gsLst>
                          <a:gs pos="0">
                            <a:srgbClr val="FFFFFF"/>
                          </a:gs>
                          <a:gs pos="100000">
                            <a:srgbClr val="FFFFFF"/>
                          </a:gs>
                        </a:gsLst>
                        <a:lin ang="5400000" scaled="0"/>
                      </a:gradFill>
                      <a:ea typeface="Segoe UI" pitchFamily="34" charset="0"/>
                      <a:cs typeface="Segoe UI" pitchFamily="34" charset="0"/>
                    </a:rPr>
                    <a:t>216 G:59 B:1</a:t>
                  </a:r>
                  <a:endParaRPr lang="en-US" sz="375"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699261" fontAlgn="base">
                    <a:lnSpc>
                      <a:spcPct val="100000"/>
                    </a:lnSpc>
                    <a:spcBef>
                      <a:spcPct val="0"/>
                    </a:spcBef>
                    <a:spcAft>
                      <a:spcPct val="0"/>
                    </a:spcAft>
                  </a:pPr>
                  <a:r>
                    <a:rPr lang="en-US" sz="375"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699261" fontAlgn="base">
                    <a:lnSpc>
                      <a:spcPct val="100000"/>
                    </a:lnSpc>
                    <a:spcBef>
                      <a:spcPct val="0"/>
                    </a:spcBef>
                    <a:spcAft>
                      <a:spcPct val="0"/>
                    </a:spcAft>
                  </a:pPr>
                  <a:r>
                    <a:rPr lang="en-US" sz="375" dirty="0">
                      <a:gradFill>
                        <a:gsLst>
                          <a:gs pos="0">
                            <a:srgbClr val="FFFFFF"/>
                          </a:gs>
                          <a:gs pos="100000">
                            <a:srgbClr val="FFFFFF"/>
                          </a:gs>
                        </a:gsLst>
                        <a:lin ang="5400000" scaled="0"/>
                      </a:gradFill>
                      <a:ea typeface="Segoe UI" pitchFamily="34" charset="0"/>
                      <a:cs typeface="Segoe UI" pitchFamily="34" charset="0"/>
                    </a:rPr>
                    <a:t>R:</a:t>
                  </a:r>
                  <a:r>
                    <a:rPr lang="en-US" sz="375"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375"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699261" fontAlgn="base">
                    <a:lnSpc>
                      <a:spcPct val="100000"/>
                    </a:lnSpc>
                    <a:spcBef>
                      <a:spcPct val="0"/>
                    </a:spcBef>
                    <a:spcAft>
                      <a:spcPct val="0"/>
                    </a:spcAft>
                  </a:pPr>
                  <a:r>
                    <a:rPr lang="en-US" sz="375" dirty="0">
                      <a:gradFill>
                        <a:gsLst>
                          <a:gs pos="10042">
                            <a:schemeClr val="tx1"/>
                          </a:gs>
                          <a:gs pos="39000">
                            <a:schemeClr val="tx1"/>
                          </a:gs>
                        </a:gsLst>
                        <a:lin ang="5400000" scaled="0"/>
                      </a:gradFill>
                      <a:ea typeface="Segoe UI" pitchFamily="34" charset="0"/>
                      <a:cs typeface="Segoe UI" pitchFamily="34" charset="0"/>
                    </a:rPr>
                    <a:t>R:</a:t>
                  </a:r>
                  <a:r>
                    <a:rPr lang="en-US" sz="375"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375"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699261" fontAlgn="base">
                    <a:lnSpc>
                      <a:spcPct val="100000"/>
                    </a:lnSpc>
                    <a:spcBef>
                      <a:spcPct val="0"/>
                    </a:spcBef>
                    <a:spcAft>
                      <a:spcPct val="0"/>
                    </a:spcAft>
                  </a:pPr>
                  <a:r>
                    <a:rPr lang="en-US" sz="375" dirty="0">
                      <a:gradFill>
                        <a:gsLst>
                          <a:gs pos="2092">
                            <a:srgbClr val="F8F8F8"/>
                          </a:gs>
                          <a:gs pos="10042">
                            <a:srgbClr val="F8F8F8"/>
                          </a:gs>
                        </a:gsLst>
                        <a:lin ang="5400000" scaled="0"/>
                      </a:gradFill>
                      <a:ea typeface="Segoe UI" pitchFamily="34" charset="0"/>
                      <a:cs typeface="Segoe UI" pitchFamily="34" charset="0"/>
                    </a:rPr>
                    <a:t>R:</a:t>
                  </a:r>
                  <a:r>
                    <a:rPr lang="en-US" sz="375"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375"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699261" fontAlgn="base">
                    <a:lnSpc>
                      <a:spcPct val="100000"/>
                    </a:lnSpc>
                    <a:spcBef>
                      <a:spcPct val="0"/>
                    </a:spcBef>
                    <a:spcAft>
                      <a:spcPct val="0"/>
                    </a:spcAft>
                  </a:pPr>
                  <a:r>
                    <a:rPr lang="en-US" sz="375" dirty="0">
                      <a:gradFill>
                        <a:gsLst>
                          <a:gs pos="2092">
                            <a:srgbClr val="F8F8F8"/>
                          </a:gs>
                          <a:gs pos="10042">
                            <a:srgbClr val="F8F8F8"/>
                          </a:gs>
                        </a:gsLst>
                        <a:lin ang="5400000" scaled="0"/>
                      </a:gradFill>
                      <a:ea typeface="Segoe UI" pitchFamily="34" charset="0"/>
                      <a:cs typeface="Segoe UI" pitchFamily="34" charset="0"/>
                    </a:rPr>
                    <a:t>R:</a:t>
                  </a:r>
                  <a:r>
                    <a:rPr lang="en-US" sz="375"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375"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699261" rtl="0" eaLnBrk="1" fontAlgn="base" latinLnBrk="0" hangingPunct="1">
                    <a:lnSpc>
                      <a:spcPct val="100000"/>
                    </a:lnSpc>
                    <a:spcBef>
                      <a:spcPct val="0"/>
                    </a:spcBef>
                    <a:spcAft>
                      <a:spcPct val="0"/>
                    </a:spcAft>
                  </a:pPr>
                  <a:r>
                    <a:rPr lang="en-US" sz="375"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699261" rtl="0" eaLnBrk="1" fontAlgn="base" latinLnBrk="0" hangingPunct="1">
                  <a:lnSpc>
                    <a:spcPct val="100000"/>
                  </a:lnSpc>
                  <a:spcBef>
                    <a:spcPct val="0"/>
                  </a:spcBef>
                  <a:spcAft>
                    <a:spcPct val="0"/>
                  </a:spcAft>
                </a:pPr>
                <a:r>
                  <a:rPr lang="en-US" sz="375"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3069788" y="229373"/>
                <a:ext cx="679994" cy="384754"/>
              </a:xfrm>
              <a:prstGeom prst="rect">
                <a:avLst/>
              </a:prstGeom>
              <a:noFill/>
            </p:spPr>
            <p:txBody>
              <a:bodyPr wrap="none" lIns="0" tIns="91440" rIns="182880" bIns="91440" rtlCol="0">
                <a:spAutoFit/>
              </a:bodyPr>
              <a:lstStyle/>
              <a:p>
                <a:pPr>
                  <a:lnSpc>
                    <a:spcPct val="90000"/>
                  </a:lnSpc>
                  <a:spcAft>
                    <a:spcPts val="450"/>
                  </a:spcAft>
                </a:pPr>
                <a:r>
                  <a:rPr lang="en-US" sz="75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2055456" y="4199785"/>
                <a:ext cx="2029723" cy="384754"/>
              </a:xfrm>
              <a:prstGeom prst="rect">
                <a:avLst/>
              </a:prstGeom>
              <a:noFill/>
            </p:spPr>
            <p:txBody>
              <a:bodyPr wrap="none" lIns="0" tIns="91440" rIns="182880" bIns="91440" rtlCol="0">
                <a:spAutoFit/>
              </a:bodyPr>
              <a:lstStyle/>
              <a:p>
                <a:pPr>
                  <a:lnSpc>
                    <a:spcPct val="90000"/>
                  </a:lnSpc>
                  <a:spcAft>
                    <a:spcPts val="450"/>
                  </a:spcAft>
                </a:pPr>
                <a:r>
                  <a:rPr lang="en-US" sz="750" dirty="0">
                    <a:gradFill>
                      <a:gsLst>
                        <a:gs pos="2917">
                          <a:schemeClr val="tx1"/>
                        </a:gs>
                        <a:gs pos="30000">
                          <a:schemeClr val="tx1"/>
                        </a:gs>
                      </a:gsLst>
                      <a:lin ang="5400000" scaled="0"/>
                    </a:gradFill>
                  </a:rPr>
                  <a:t>Secondary colors (use only when</a:t>
                </a:r>
                <a:r>
                  <a:rPr lang="en-US" sz="750" baseline="0" dirty="0">
                    <a:gradFill>
                      <a:gsLst>
                        <a:gs pos="2917">
                          <a:schemeClr val="tx1"/>
                        </a:gs>
                        <a:gs pos="30000">
                          <a:schemeClr val="tx1"/>
                        </a:gs>
                      </a:gsLst>
                      <a:lin ang="5400000" scaled="0"/>
                    </a:gradFill>
                  </a:rPr>
                  <a:t> necessary)</a:t>
                </a:r>
                <a:endParaRPr lang="en-US" sz="75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699261" rtl="0" eaLnBrk="1" fontAlgn="base" latinLnBrk="0" hangingPunct="1">
                <a:lnSpc>
                  <a:spcPct val="100000"/>
                </a:lnSpc>
                <a:spcBef>
                  <a:spcPct val="0"/>
                </a:spcBef>
                <a:spcAft>
                  <a:spcPct val="0"/>
                </a:spcAft>
              </a:pPr>
              <a:r>
                <a:rPr lang="en-US" sz="375"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9137110" y="4304627"/>
            <a:ext cx="869930" cy="21730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7" tIns="34287" rIns="0" bIns="0" numCol="1" spcCol="0" rtlCol="0" fromWordArt="0" anchor="t" anchorCtr="0" forceAA="0" compatLnSpc="1">
            <a:prstTxWarp prst="textNoShape">
              <a:avLst/>
            </a:prstTxWarp>
            <a:noAutofit/>
          </a:bodyPr>
          <a:lstStyle/>
          <a:p>
            <a:pPr marL="0" algn="l" defTabSz="699261" rtl="0" eaLnBrk="1" fontAlgn="base" latinLnBrk="0" hangingPunct="1">
              <a:lnSpc>
                <a:spcPct val="100000"/>
              </a:lnSpc>
              <a:spcBef>
                <a:spcPct val="0"/>
              </a:spcBef>
              <a:spcAft>
                <a:spcPct val="0"/>
              </a:spcAft>
            </a:pPr>
            <a:r>
              <a:rPr lang="en-US" sz="375"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699261" rtl="0" eaLnBrk="1" fontAlgn="base" latinLnBrk="0" hangingPunct="1">
              <a:lnSpc>
                <a:spcPct val="100000"/>
              </a:lnSpc>
              <a:spcBef>
                <a:spcPct val="0"/>
              </a:spcBef>
              <a:spcAft>
                <a:spcPct val="0"/>
              </a:spcAft>
            </a:pPr>
            <a:r>
              <a:rPr lang="en-US" sz="375"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2158719023"/>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6" r:id="rId5"/>
    <p:sldLayoutId id="2147484437" r:id="rId6"/>
    <p:sldLayoutId id="2147484438" r:id="rId7"/>
    <p:sldLayoutId id="2147484439" r:id="rId8"/>
    <p:sldLayoutId id="2147484440" r:id="rId9"/>
    <p:sldLayoutId id="2147484441" r:id="rId10"/>
    <p:sldLayoutId id="2147484442" r:id="rId11"/>
    <p:sldLayoutId id="2147484443" r:id="rId12"/>
    <p:sldLayoutId id="2147484444" r:id="rId13"/>
    <p:sldLayoutId id="2147484445" r:id="rId14"/>
    <p:sldLayoutId id="2147484446" r:id="rId15"/>
    <p:sldLayoutId id="2147484447" r:id="rId16"/>
    <p:sldLayoutId id="2147484448" r:id="rId17"/>
    <p:sldLayoutId id="2147484449" r:id="rId18"/>
    <p:sldLayoutId id="2147484450" r:id="rId19"/>
    <p:sldLayoutId id="2147484451" r:id="rId20"/>
    <p:sldLayoutId id="2147484452" r:id="rId21"/>
    <p:sldLayoutId id="2147484453" r:id="rId22"/>
    <p:sldLayoutId id="2147484454" r:id="rId23"/>
    <p:sldLayoutId id="2147484455" r:id="rId24"/>
    <p:sldLayoutId id="2147484456" r:id="rId25"/>
  </p:sldLayoutIdLst>
  <p:transition>
    <p:fade/>
  </p:transition>
  <p:txStyles>
    <p:titleStyle>
      <a:lvl1pPr algn="l" defTabSz="699463" rtl="0" eaLnBrk="1" latinLnBrk="0" hangingPunct="1">
        <a:lnSpc>
          <a:spcPct val="90000"/>
        </a:lnSpc>
        <a:spcBef>
          <a:spcPct val="0"/>
        </a:spcBef>
        <a:buNone/>
        <a:defRPr lang="en-US" sz="36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38092" marR="0" indent="-180951"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9995" marR="0" indent="-171427"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3pPr>
      <a:lvl4pPr marL="771422" marR="0" indent="-171427"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50" kern="1200" spc="0" baseline="0">
          <a:gradFill>
            <a:gsLst>
              <a:gs pos="1250">
                <a:schemeClr val="tx1"/>
              </a:gs>
              <a:gs pos="100000">
                <a:schemeClr val="tx1"/>
              </a:gs>
            </a:gsLst>
            <a:lin ang="5400000" scaled="0"/>
          </a:gradFill>
          <a:latin typeface="+mn-lt"/>
          <a:ea typeface="+mn-ea"/>
          <a:cs typeface="+mn-cs"/>
        </a:defRPr>
      </a:lvl4pPr>
      <a:lvl5pPr marL="942849" marR="0" indent="-171427" algn="l" defTabSz="6994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5962" y="295276"/>
            <a:ext cx="8916415"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5963" y="1212853"/>
            <a:ext cx="8914640" cy="147271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5400000">
            <a:off x="6170207" y="3162309"/>
            <a:ext cx="6995160" cy="670543"/>
          </a:xfrm>
          <a:prstGeom prst="rect">
            <a:avLst/>
          </a:prstGeom>
        </p:spPr>
      </p:pic>
    </p:spTree>
    <p:extLst>
      <p:ext uri="{BB962C8B-B14F-4D97-AF65-F5344CB8AC3E}">
        <p14:creationId xmlns:p14="http://schemas.microsoft.com/office/powerpoint/2010/main" val="1233766676"/>
      </p:ext>
    </p:extLst>
  </p:cSld>
  <p:clrMap bg1="dk1" tx1="lt1" bg2="dk2" tx2="lt2" accent1="accent1" accent2="accent2" accent3="accent3" accent4="accent4" accent5="accent5" accent6="accent6" hlink="hlink" folHlink="folHlink"/>
  <p:sldLayoutIdLst>
    <p:sldLayoutId id="2147484458" r:id="rId1"/>
    <p:sldLayoutId id="2147484459" r:id="rId2"/>
    <p:sldLayoutId id="2147484460" r:id="rId3"/>
    <p:sldLayoutId id="2147484461" r:id="rId4"/>
    <p:sldLayoutId id="2147484462" r:id="rId5"/>
    <p:sldLayoutId id="2147484463" r:id="rId6"/>
  </p:sldLayoutIdLst>
  <p:transition>
    <p:fade/>
  </p:transition>
  <p:txStyles>
    <p:titleStyle>
      <a:lvl1pPr algn="l" defTabSz="699329" rtl="0" eaLnBrk="1" latinLnBrk="0" hangingPunct="1">
        <a:lnSpc>
          <a:spcPct val="90000"/>
        </a:lnSpc>
        <a:spcBef>
          <a:spcPct val="0"/>
        </a:spcBef>
        <a:buNone/>
        <a:defRPr lang="en-US" sz="27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091" marR="0" indent="-257091" algn="l" defTabSz="699329" rtl="0" eaLnBrk="1" fontAlgn="auto" latinLnBrk="0" hangingPunct="1">
        <a:lnSpc>
          <a:spcPct val="90000"/>
        </a:lnSpc>
        <a:spcBef>
          <a:spcPct val="20000"/>
        </a:spcBef>
        <a:spcAft>
          <a:spcPts val="0"/>
        </a:spcAft>
        <a:buClrTx/>
        <a:buSzPct val="90000"/>
        <a:buFont typeface="Arial" pitchFamily="34" charset="0"/>
        <a:buChar char="•"/>
        <a:tabLst/>
        <a:defRPr sz="2754" kern="1200" spc="0" baseline="0">
          <a:gradFill>
            <a:gsLst>
              <a:gs pos="1250">
                <a:schemeClr val="tx1"/>
              </a:gs>
              <a:gs pos="100000">
                <a:schemeClr val="tx1"/>
              </a:gs>
            </a:gsLst>
            <a:lin ang="5400000" scaled="0"/>
          </a:gradFill>
          <a:latin typeface="+mj-lt"/>
          <a:ea typeface="+mn-ea"/>
          <a:cs typeface="+mn-cs"/>
        </a:defRPr>
      </a:lvl1pPr>
      <a:lvl2pPr marL="438008" marR="0" indent="-180916" algn="l" defTabSz="699329" rtl="0" eaLnBrk="1" fontAlgn="auto" latinLnBrk="0" hangingPunct="1">
        <a:lnSpc>
          <a:spcPct val="90000"/>
        </a:lnSpc>
        <a:spcBef>
          <a:spcPct val="20000"/>
        </a:spcBef>
        <a:spcAft>
          <a:spcPts val="0"/>
        </a:spcAft>
        <a:buClrTx/>
        <a:buSzPct val="90000"/>
        <a:buFont typeface="Arial" pitchFamily="34" charset="0"/>
        <a:buChar char="•"/>
        <a:tabLst/>
        <a:defRPr sz="1530" kern="1200" spc="0" baseline="0">
          <a:gradFill>
            <a:gsLst>
              <a:gs pos="1250">
                <a:schemeClr val="tx1"/>
              </a:gs>
              <a:gs pos="100000">
                <a:schemeClr val="tx1"/>
              </a:gs>
            </a:gsLst>
            <a:lin ang="5400000" scaled="0"/>
          </a:gradFill>
          <a:latin typeface="+mn-lt"/>
          <a:ea typeface="+mn-ea"/>
          <a:cs typeface="+mn-cs"/>
        </a:defRPr>
      </a:lvl2pPr>
      <a:lvl3pPr marL="599880" marR="0" indent="-171395" algn="l" defTabSz="699329" rtl="0" eaLnBrk="1" fontAlgn="auto" latinLnBrk="0" hangingPunct="1">
        <a:lnSpc>
          <a:spcPct val="90000"/>
        </a:lnSpc>
        <a:spcBef>
          <a:spcPct val="20000"/>
        </a:spcBef>
        <a:spcAft>
          <a:spcPts val="0"/>
        </a:spcAft>
        <a:buClrTx/>
        <a:buSzPct val="90000"/>
        <a:buFont typeface="Arial" pitchFamily="34" charset="0"/>
        <a:buChar char="•"/>
        <a:tabLst/>
        <a:defRPr sz="1377" kern="1200" spc="0" baseline="0">
          <a:gradFill>
            <a:gsLst>
              <a:gs pos="1250">
                <a:schemeClr val="tx1"/>
              </a:gs>
              <a:gs pos="100000">
                <a:schemeClr val="tx1"/>
              </a:gs>
            </a:gsLst>
            <a:lin ang="5400000" scaled="0"/>
          </a:gradFill>
          <a:latin typeface="+mn-lt"/>
          <a:ea typeface="+mn-ea"/>
          <a:cs typeface="+mn-cs"/>
        </a:defRPr>
      </a:lvl3pPr>
      <a:lvl4pPr marL="771274" marR="0" indent="-171395" algn="l" defTabSz="699329" rtl="0" eaLnBrk="1" fontAlgn="auto" latinLnBrk="0" hangingPunct="1">
        <a:lnSpc>
          <a:spcPct val="90000"/>
        </a:lnSpc>
        <a:spcBef>
          <a:spcPct val="20000"/>
        </a:spcBef>
        <a:spcAft>
          <a:spcPts val="0"/>
        </a:spcAft>
        <a:buClrTx/>
        <a:buSzPct val="90000"/>
        <a:buFont typeface="Arial" pitchFamily="34" charset="0"/>
        <a:buChar char="•"/>
        <a:tabLst/>
        <a:defRPr sz="1224" kern="1200" spc="0" baseline="0">
          <a:gradFill>
            <a:gsLst>
              <a:gs pos="1250">
                <a:schemeClr val="tx1"/>
              </a:gs>
              <a:gs pos="100000">
                <a:schemeClr val="tx1"/>
              </a:gs>
            </a:gsLst>
            <a:lin ang="5400000" scaled="0"/>
          </a:gradFill>
          <a:latin typeface="+mn-lt"/>
          <a:ea typeface="+mn-ea"/>
          <a:cs typeface="+mn-cs"/>
        </a:defRPr>
      </a:lvl4pPr>
      <a:lvl5pPr marL="942668" marR="0" indent="-171395" algn="l" defTabSz="699329" rtl="0" eaLnBrk="1" fontAlgn="auto" latinLnBrk="0" hangingPunct="1">
        <a:lnSpc>
          <a:spcPct val="90000"/>
        </a:lnSpc>
        <a:spcBef>
          <a:spcPct val="20000"/>
        </a:spcBef>
        <a:spcAft>
          <a:spcPts val="0"/>
        </a:spcAft>
        <a:buClrTx/>
        <a:buSzPct val="90000"/>
        <a:buFont typeface="Arial" pitchFamily="34" charset="0"/>
        <a:buChar char="•"/>
        <a:tabLst/>
        <a:defRPr sz="1224" kern="1200" spc="0" baseline="0">
          <a:gradFill>
            <a:gsLst>
              <a:gs pos="1250">
                <a:schemeClr val="tx1"/>
              </a:gs>
              <a:gs pos="100000">
                <a:schemeClr val="tx1"/>
              </a:gs>
            </a:gsLst>
            <a:lin ang="5400000" scaled="0"/>
          </a:gradFill>
          <a:latin typeface="+mn-lt"/>
          <a:ea typeface="+mn-ea"/>
          <a:cs typeface="+mn-cs"/>
        </a:defRPr>
      </a:lvl5pPr>
      <a:lvl6pPr marL="1923155" indent="-174832" algn="l" defTabSz="69932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2819" indent="-174832" algn="l" defTabSz="69932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484" indent="-174832" algn="l" defTabSz="69932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149" indent="-174832" algn="l" defTabSz="699329"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329" rtl="0" eaLnBrk="1" latinLnBrk="0" hangingPunct="1">
        <a:defRPr sz="1350" kern="1200">
          <a:solidFill>
            <a:schemeClr val="tx1"/>
          </a:solidFill>
          <a:latin typeface="+mn-lt"/>
          <a:ea typeface="+mn-ea"/>
          <a:cs typeface="+mn-cs"/>
        </a:defRPr>
      </a:lvl1pPr>
      <a:lvl2pPr marL="349664" algn="l" defTabSz="699329" rtl="0" eaLnBrk="1" latinLnBrk="0" hangingPunct="1">
        <a:defRPr sz="1350" kern="1200">
          <a:solidFill>
            <a:schemeClr val="tx1"/>
          </a:solidFill>
          <a:latin typeface="+mn-lt"/>
          <a:ea typeface="+mn-ea"/>
          <a:cs typeface="+mn-cs"/>
        </a:defRPr>
      </a:lvl2pPr>
      <a:lvl3pPr marL="699329" algn="l" defTabSz="699329" rtl="0" eaLnBrk="1" latinLnBrk="0" hangingPunct="1">
        <a:defRPr sz="1350" kern="1200">
          <a:solidFill>
            <a:schemeClr val="tx1"/>
          </a:solidFill>
          <a:latin typeface="+mn-lt"/>
          <a:ea typeface="+mn-ea"/>
          <a:cs typeface="+mn-cs"/>
        </a:defRPr>
      </a:lvl3pPr>
      <a:lvl4pPr marL="1048993" algn="l" defTabSz="699329" rtl="0" eaLnBrk="1" latinLnBrk="0" hangingPunct="1">
        <a:defRPr sz="1350" kern="1200">
          <a:solidFill>
            <a:schemeClr val="tx1"/>
          </a:solidFill>
          <a:latin typeface="+mn-lt"/>
          <a:ea typeface="+mn-ea"/>
          <a:cs typeface="+mn-cs"/>
        </a:defRPr>
      </a:lvl4pPr>
      <a:lvl5pPr marL="1398658" algn="l" defTabSz="699329" rtl="0" eaLnBrk="1" latinLnBrk="0" hangingPunct="1">
        <a:defRPr sz="1350" kern="1200">
          <a:solidFill>
            <a:schemeClr val="tx1"/>
          </a:solidFill>
          <a:latin typeface="+mn-lt"/>
          <a:ea typeface="+mn-ea"/>
          <a:cs typeface="+mn-cs"/>
        </a:defRPr>
      </a:lvl5pPr>
      <a:lvl6pPr marL="1748323" algn="l" defTabSz="699329" rtl="0" eaLnBrk="1" latinLnBrk="0" hangingPunct="1">
        <a:defRPr sz="1350" kern="1200">
          <a:solidFill>
            <a:schemeClr val="tx1"/>
          </a:solidFill>
          <a:latin typeface="+mn-lt"/>
          <a:ea typeface="+mn-ea"/>
          <a:cs typeface="+mn-cs"/>
        </a:defRPr>
      </a:lvl6pPr>
      <a:lvl7pPr marL="2097987" algn="l" defTabSz="699329" rtl="0" eaLnBrk="1" latinLnBrk="0" hangingPunct="1">
        <a:defRPr sz="1350" kern="1200">
          <a:solidFill>
            <a:schemeClr val="tx1"/>
          </a:solidFill>
          <a:latin typeface="+mn-lt"/>
          <a:ea typeface="+mn-ea"/>
          <a:cs typeface="+mn-cs"/>
        </a:defRPr>
      </a:lvl7pPr>
      <a:lvl8pPr marL="2447651" algn="l" defTabSz="699329" rtl="0" eaLnBrk="1" latinLnBrk="0" hangingPunct="1">
        <a:defRPr sz="1350" kern="1200">
          <a:solidFill>
            <a:schemeClr val="tx1"/>
          </a:solidFill>
          <a:latin typeface="+mn-lt"/>
          <a:ea typeface="+mn-ea"/>
          <a:cs typeface="+mn-cs"/>
        </a:defRPr>
      </a:lvl8pPr>
      <a:lvl9pPr marL="2797317" algn="l" defTabSz="69932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1.xml"/></Relationships>
</file>

<file path=ppt/slides/_rels/slide1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xml"/><Relationship Id="rId1" Type="http://schemas.openxmlformats.org/officeDocument/2006/relationships/slideLayout" Target="../slideLayouts/slideLayout200.xml"/><Relationship Id="rId5" Type="http://schemas.openxmlformats.org/officeDocument/2006/relationships/image" Target="../media/image52.png"/><Relationship Id="rId4" Type="http://schemas.openxmlformats.org/officeDocument/2006/relationships/image" Target="../media/image51.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1.xml"/></Relationships>
</file>

<file path=ppt/slides/_rels/slide1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4.xml"/><Relationship Id="rId1" Type="http://schemas.openxmlformats.org/officeDocument/2006/relationships/slideLayout" Target="../slideLayouts/slideLayout1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1.xml"/><Relationship Id="rId1" Type="http://schemas.openxmlformats.org/officeDocument/2006/relationships/themeOverride" Target="../theme/themeOverr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8.xml"/></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7.xml"/><Relationship Id="rId1" Type="http://schemas.openxmlformats.org/officeDocument/2006/relationships/slideLayout" Target="../slideLayouts/slideLayout1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1.xml"/></Relationships>
</file>

<file path=ppt/slides/_rels/slide2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50.xml"/></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0.xml"/><Relationship Id="rId1" Type="http://schemas.openxmlformats.org/officeDocument/2006/relationships/slideLayout" Target="../slideLayouts/slideLayout178.xml"/></Relationships>
</file>

<file path=ppt/slides/_rels/slide26.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21.xml"/><Relationship Id="rId1" Type="http://schemas.openxmlformats.org/officeDocument/2006/relationships/slideLayout" Target="../slideLayouts/slideLayout137.xml"/><Relationship Id="rId6" Type="http://schemas.openxmlformats.org/officeDocument/2006/relationships/image" Target="../media/image60.png"/><Relationship Id="rId5" Type="http://schemas.openxmlformats.org/officeDocument/2006/relationships/image" Target="../media/image59.png"/><Relationship Id="rId10" Type="http://schemas.openxmlformats.org/officeDocument/2006/relationships/hyperlink" Target="https://github.com/shaheeng/ClassificationModelEvaluation/blob/master/Baseline%20Metrics_Shaheen_article.pdf" TargetMode="External"/><Relationship Id="rId4" Type="http://schemas.openxmlformats.org/officeDocument/2006/relationships/image" Target="../media/image580.png"/><Relationship Id="rId9" Type="http://schemas.openxmlformats.org/officeDocument/2006/relationships/image" Target="../media/image63.png"/></Relationships>
</file>

<file path=ppt/slides/_rels/slide2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52.xml"/></Relationships>
</file>

<file path=ppt/slides/_rels/slide2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2.xml"/><Relationship Id="rId1" Type="http://schemas.openxmlformats.org/officeDocument/2006/relationships/slideLayout" Target="../slideLayouts/slideLayout124.xml"/></Relationships>
</file>

<file path=ppt/slides/_rels/slide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15.xml"/></Relationships>
</file>

<file path=ppt/slides/_rels/slide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15.xml"/></Relationships>
</file>

<file path=ppt/slides/_rels/slide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15.xml"/></Relationships>
</file>

<file path=ppt/slides/_rels/slide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sz="quarter" idx="13"/>
          </p:nvPr>
        </p:nvSpPr>
        <p:spPr>
          <a:xfrm>
            <a:off x="211429" y="3524376"/>
            <a:ext cx="8109452" cy="2040559"/>
          </a:xfrm>
        </p:spPr>
        <p:txBody>
          <a:bodyPr/>
          <a:lstStyle/>
          <a:p>
            <a:r>
              <a:rPr lang="en-US" sz="2400" b="1" dirty="0"/>
              <a:t>Dave Wentzel</a:t>
            </a:r>
          </a:p>
          <a:p>
            <a:r>
              <a:rPr lang="en-US" sz="2400" b="1" dirty="0"/>
              <a:t>linkedin.com/in/</a:t>
            </a:r>
            <a:r>
              <a:rPr lang="en-US" sz="2400" b="1" dirty="0" err="1"/>
              <a:t>dwentzel</a:t>
            </a:r>
            <a:endParaRPr lang="en-US" sz="2400" b="1" dirty="0"/>
          </a:p>
          <a:p>
            <a:r>
              <a:rPr lang="en-US" sz="2400" b="1" dirty="0"/>
              <a:t>git.davewentzel.com/demos/</a:t>
            </a:r>
            <a:r>
              <a:rPr lang="en-US" sz="2400" b="1" dirty="0" err="1"/>
              <a:t>datasciencehack</a:t>
            </a:r>
            <a:endParaRPr lang="en-US" sz="2400" b="1" dirty="0"/>
          </a:p>
          <a:p>
            <a:endParaRPr lang="en-US" sz="2400" dirty="0"/>
          </a:p>
          <a:p>
            <a:endParaRPr lang="en-US" sz="1800" dirty="0"/>
          </a:p>
        </p:txBody>
      </p:sp>
      <p:sp>
        <p:nvSpPr>
          <p:cNvPr id="5" name="Title 4"/>
          <p:cNvSpPr>
            <a:spLocks noGrp="1"/>
          </p:cNvSpPr>
          <p:nvPr>
            <p:ph type="title"/>
          </p:nvPr>
        </p:nvSpPr>
        <p:spPr>
          <a:xfrm>
            <a:off x="194084" y="677862"/>
            <a:ext cx="8916414" cy="688123"/>
          </a:xfrm>
        </p:spPr>
        <p:txBody>
          <a:bodyPr/>
          <a:lstStyle/>
          <a:p>
            <a:r>
              <a:rPr lang="en-US" b="1" dirty="0"/>
              <a:t>Data Science Introduction</a:t>
            </a:r>
          </a:p>
        </p:txBody>
      </p:sp>
    </p:spTree>
    <p:extLst>
      <p:ext uri="{BB962C8B-B14F-4D97-AF65-F5344CB8AC3E}">
        <p14:creationId xmlns:p14="http://schemas.microsoft.com/office/powerpoint/2010/main" val="235180495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erminology</a:t>
            </a:r>
          </a:p>
        </p:txBody>
      </p:sp>
      <p:sp>
        <p:nvSpPr>
          <p:cNvPr id="5" name="Text Placeholder 4"/>
          <p:cNvSpPr>
            <a:spLocks noGrp="1"/>
          </p:cNvSpPr>
          <p:nvPr>
            <p:ph type="body" sz="quarter" idx="10"/>
          </p:nvPr>
        </p:nvSpPr>
        <p:spPr>
          <a:xfrm>
            <a:off x="191735" y="1212850"/>
            <a:ext cx="8914641" cy="4708981"/>
          </a:xfrm>
        </p:spPr>
        <p:txBody>
          <a:bodyPr/>
          <a:lstStyle/>
          <a:p>
            <a:r>
              <a:rPr lang="en-US" sz="2100" dirty="0"/>
              <a:t>Overfitting/</a:t>
            </a:r>
            <a:r>
              <a:rPr lang="en-US" sz="2100" dirty="0" err="1"/>
              <a:t>Underfitting</a:t>
            </a:r>
            <a:r>
              <a:rPr lang="en-US" sz="2100" dirty="0"/>
              <a:t> a model</a:t>
            </a:r>
          </a:p>
          <a:p>
            <a:r>
              <a:rPr lang="en-US" sz="2100" dirty="0"/>
              <a:t>the more you try to make your model perfect, the more you risk fitting the model to the training data and the model begins to memorize the data it has seen.  </a:t>
            </a:r>
          </a:p>
          <a:p>
            <a:endParaRPr lang="en-US" sz="2100" dirty="0"/>
          </a:p>
          <a:p>
            <a:r>
              <a:rPr lang="en-US" sz="2100" dirty="0"/>
              <a:t>If it walks like a duck and talks like a duck, it’s a duck</a:t>
            </a:r>
          </a:p>
          <a:p>
            <a:endParaRPr lang="en-US" sz="2100" dirty="0"/>
          </a:p>
          <a:p>
            <a:r>
              <a:rPr lang="en-US" sz="2100" dirty="0"/>
              <a:t>It is a duck if, and only if, it walks and quacks exactly in the ways I have personally observed from ducks in Pennsylvania.  Since I’ve never observed ducks in Australia, that may look, walk and quack differently from ducks in PA…in that case, they aren’t ducks at all.  </a:t>
            </a:r>
          </a:p>
          <a:p>
            <a:endParaRPr lang="en-US" sz="2100" dirty="0"/>
          </a:p>
          <a:p>
            <a:r>
              <a:rPr lang="en-US" sz="2100" dirty="0"/>
              <a:t>If it walks on two legs and emits shrill, nasal-y, high pitched noises, it’s a duck.  Therefore, Fran </a:t>
            </a:r>
            <a:r>
              <a:rPr lang="en-US" sz="2100" dirty="0" err="1"/>
              <a:t>Drescher</a:t>
            </a:r>
            <a:r>
              <a:rPr lang="en-US" sz="2100" dirty="0"/>
              <a:t> is a duck.  </a:t>
            </a:r>
          </a:p>
        </p:txBody>
      </p:sp>
    </p:spTree>
    <p:extLst>
      <p:ext uri="{BB962C8B-B14F-4D97-AF65-F5344CB8AC3E}">
        <p14:creationId xmlns:p14="http://schemas.microsoft.com/office/powerpoint/2010/main" val="128581891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16029" y="2125779"/>
            <a:ext cx="8914641" cy="4345805"/>
          </a:xfrm>
        </p:spPr>
        <p:txBody>
          <a:bodyPr/>
          <a:lstStyle/>
          <a:p>
            <a:pPr marL="457200" indent="-457200">
              <a:spcBef>
                <a:spcPts val="2250"/>
              </a:spcBef>
              <a:buAutoNum type="arabicPeriod"/>
            </a:pPr>
            <a:r>
              <a:rPr lang="en-US" sz="2100" dirty="0"/>
              <a:t>How much / how many? </a:t>
            </a:r>
            <a:r>
              <a:rPr lang="en-US" sz="2100" b="1" dirty="0">
                <a:solidFill>
                  <a:schemeClr val="tx2"/>
                </a:solidFill>
              </a:rPr>
              <a:t>Regression</a:t>
            </a:r>
          </a:p>
          <a:p>
            <a:pPr>
              <a:spcBef>
                <a:spcPts val="2250"/>
              </a:spcBef>
            </a:pPr>
            <a:r>
              <a:rPr lang="en-US" sz="2100" b="1" dirty="0">
                <a:solidFill>
                  <a:schemeClr val="tx2"/>
                </a:solidFill>
              </a:rPr>
              <a:t>	supervised.  ”Given my past sales, what will my sales be next quarter”</a:t>
            </a:r>
          </a:p>
          <a:p>
            <a:pPr>
              <a:spcBef>
                <a:spcPts val="2250"/>
              </a:spcBef>
            </a:pPr>
            <a:r>
              <a:rPr lang="en-US" sz="2100" dirty="0"/>
              <a:t>2. Which category? </a:t>
            </a:r>
            <a:r>
              <a:rPr lang="en-US" sz="2100" b="1" dirty="0">
                <a:solidFill>
                  <a:schemeClr val="tx2"/>
                </a:solidFill>
              </a:rPr>
              <a:t>Classification</a:t>
            </a:r>
          </a:p>
          <a:p>
            <a:pPr>
              <a:spcBef>
                <a:spcPts val="2250"/>
              </a:spcBef>
            </a:pPr>
            <a:r>
              <a:rPr lang="en-US" sz="2100" b="1" dirty="0">
                <a:solidFill>
                  <a:schemeClr val="tx2"/>
                </a:solidFill>
              </a:rPr>
              <a:t>	supervised.  “Will this loan </a:t>
            </a:r>
            <a:r>
              <a:rPr lang="en-US" sz="2100" b="1" dirty="0" err="1">
                <a:solidFill>
                  <a:schemeClr val="tx2"/>
                </a:solidFill>
              </a:rPr>
              <a:t>chargeoff</a:t>
            </a:r>
            <a:r>
              <a:rPr lang="en-US" sz="2100" b="1" dirty="0">
                <a:solidFill>
                  <a:schemeClr val="tx2"/>
                </a:solidFill>
              </a:rPr>
              <a:t>”</a:t>
            </a:r>
          </a:p>
          <a:p>
            <a:pPr>
              <a:spcBef>
                <a:spcPts val="2250"/>
              </a:spcBef>
            </a:pPr>
            <a:r>
              <a:rPr lang="en-US" sz="2100" dirty="0"/>
              <a:t>3. Which groups? </a:t>
            </a:r>
            <a:r>
              <a:rPr lang="en-US" sz="2100" b="1" dirty="0">
                <a:solidFill>
                  <a:schemeClr val="tx2"/>
                </a:solidFill>
              </a:rPr>
              <a:t>Clustering</a:t>
            </a:r>
          </a:p>
          <a:p>
            <a:pPr>
              <a:spcBef>
                <a:spcPts val="2250"/>
              </a:spcBef>
            </a:pPr>
            <a:r>
              <a:rPr lang="en-US" sz="2100" dirty="0"/>
              <a:t>4. Is it weird? </a:t>
            </a:r>
            <a:r>
              <a:rPr lang="en-US" sz="2100" b="1" dirty="0">
                <a:solidFill>
                  <a:schemeClr val="tx2"/>
                </a:solidFill>
              </a:rPr>
              <a:t>Anomaly Detection</a:t>
            </a:r>
          </a:p>
          <a:p>
            <a:pPr>
              <a:spcBef>
                <a:spcPts val="2250"/>
              </a:spcBef>
            </a:pPr>
            <a:r>
              <a:rPr lang="en-US" sz="2100" dirty="0"/>
              <a:t>5. Which option? </a:t>
            </a:r>
            <a:r>
              <a:rPr lang="en-US" sz="2100" b="1" dirty="0">
                <a:solidFill>
                  <a:schemeClr val="tx2"/>
                </a:solidFill>
              </a:rPr>
              <a:t>Recommendation</a:t>
            </a:r>
          </a:p>
          <a:p>
            <a:endParaRPr lang="en-US" sz="2100" dirty="0"/>
          </a:p>
        </p:txBody>
      </p:sp>
      <p:sp>
        <p:nvSpPr>
          <p:cNvPr id="4" name="Title 3"/>
          <p:cNvSpPr>
            <a:spLocks noGrp="1"/>
          </p:cNvSpPr>
          <p:nvPr>
            <p:ph type="title"/>
          </p:nvPr>
        </p:nvSpPr>
        <p:spPr>
          <a:xfrm>
            <a:off x="205962" y="1095976"/>
            <a:ext cx="8916414" cy="688123"/>
          </a:xfrm>
        </p:spPr>
        <p:txBody>
          <a:bodyPr/>
          <a:lstStyle/>
          <a:p>
            <a:r>
              <a:rPr lang="en-US"/>
              <a:t>Data science </a:t>
            </a:r>
            <a:r>
              <a:rPr lang="en-US" dirty="0"/>
              <a:t>questions</a:t>
            </a:r>
          </a:p>
        </p:txBody>
      </p:sp>
    </p:spTree>
    <p:extLst>
      <p:ext uri="{BB962C8B-B14F-4D97-AF65-F5344CB8AC3E}">
        <p14:creationId xmlns:p14="http://schemas.microsoft.com/office/powerpoint/2010/main" val="1872621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Modelling Techniques – Predictive Maintenance</a:t>
            </a:r>
          </a:p>
        </p:txBody>
      </p:sp>
      <p:sp>
        <p:nvSpPr>
          <p:cNvPr id="3" name="Rectangle 2"/>
          <p:cNvSpPr/>
          <p:nvPr/>
        </p:nvSpPr>
        <p:spPr bwMode="auto">
          <a:xfrm>
            <a:off x="1060619" y="1988647"/>
            <a:ext cx="2931308" cy="3600147"/>
          </a:xfrm>
          <a:prstGeom prst="rect">
            <a:avLst/>
          </a:prstGeom>
          <a:solidFill>
            <a:schemeClr val="bg2">
              <a:lumMod val="90000"/>
              <a:lumOff val="1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61" fontAlgn="base">
              <a:spcBef>
                <a:spcPct val="0"/>
              </a:spcBef>
              <a:spcAft>
                <a:spcPct val="0"/>
              </a:spcAft>
              <a:defRPr/>
            </a:pPr>
            <a:endParaRPr lang="en-US" sz="1200" kern="0" dirty="0">
              <a:gradFill>
                <a:gsLst>
                  <a:gs pos="0">
                    <a:srgbClr val="FFFFFF"/>
                  </a:gs>
                  <a:gs pos="100000">
                    <a:srgbClr val="FFFFFF"/>
                  </a:gs>
                </a:gsLst>
                <a:lin ang="5400000" scaled="0"/>
              </a:gradFill>
              <a:latin typeface="Segoe UI"/>
            </a:endParaRPr>
          </a:p>
        </p:txBody>
      </p:sp>
      <p:sp>
        <p:nvSpPr>
          <p:cNvPr id="4" name="Text Placeholder 2"/>
          <p:cNvSpPr txBox="1">
            <a:spLocks/>
          </p:cNvSpPr>
          <p:nvPr/>
        </p:nvSpPr>
        <p:spPr>
          <a:xfrm>
            <a:off x="1060619" y="2005552"/>
            <a:ext cx="2931309" cy="512404"/>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329">
              <a:buNone/>
              <a:defRPr/>
            </a:pPr>
            <a:r>
              <a:rPr lang="en-US" sz="3000" dirty="0">
                <a:gradFill>
                  <a:gsLst>
                    <a:gs pos="1250">
                      <a:srgbClr val="FFFFFF"/>
                    </a:gs>
                    <a:gs pos="100000">
                      <a:srgbClr val="FFFFFF"/>
                    </a:gs>
                  </a:gsLst>
                  <a:lin ang="5400000" scaled="0"/>
                </a:gradFill>
                <a:latin typeface="Segoe UI Light"/>
              </a:rPr>
              <a:t>Regression</a:t>
            </a:r>
          </a:p>
        </p:txBody>
      </p:sp>
      <p:sp>
        <p:nvSpPr>
          <p:cNvPr id="5" name="Text Placeholder 5"/>
          <p:cNvSpPr txBox="1">
            <a:spLocks/>
          </p:cNvSpPr>
          <p:nvPr/>
        </p:nvSpPr>
        <p:spPr>
          <a:xfrm>
            <a:off x="1045526" y="4354473"/>
            <a:ext cx="2914402" cy="553986"/>
          </a:xfrm>
          <a:prstGeom prst="rect">
            <a:avLst/>
          </a:prstGeom>
        </p:spPr>
        <p:txBody>
          <a:bodyPr vert="horz" wrap="square" lIns="109719" tIns="68574" rIns="109719" bIns="68574"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463">
              <a:buNone/>
              <a:defRPr/>
            </a:pPr>
            <a:r>
              <a:rPr lang="en-US" sz="1500" dirty="0">
                <a:gradFill>
                  <a:gsLst>
                    <a:gs pos="1250">
                      <a:srgbClr val="FFFFFF"/>
                    </a:gs>
                    <a:gs pos="100000">
                      <a:srgbClr val="FFFFFF"/>
                    </a:gs>
                  </a:gsLst>
                  <a:lin ang="5400000" scaled="0"/>
                </a:gradFill>
                <a:latin typeface="Segoe UI"/>
              </a:rPr>
              <a:t>E.g. How long will an aircraft engine last before it fails? (RUL) </a:t>
            </a:r>
          </a:p>
        </p:txBody>
      </p:sp>
      <p:sp>
        <p:nvSpPr>
          <p:cNvPr id="9" name="Rectangle 8"/>
          <p:cNvSpPr/>
          <p:nvPr/>
        </p:nvSpPr>
        <p:spPr bwMode="auto">
          <a:xfrm>
            <a:off x="4658722" y="1988647"/>
            <a:ext cx="2931308" cy="3600147"/>
          </a:xfrm>
          <a:prstGeom prst="rect">
            <a:avLst/>
          </a:prstGeom>
          <a:solidFill>
            <a:schemeClr val="bg2">
              <a:lumMod val="50000"/>
              <a:lumOff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61" fontAlgn="base">
              <a:spcBef>
                <a:spcPct val="0"/>
              </a:spcBef>
              <a:spcAft>
                <a:spcPct val="0"/>
              </a:spcAft>
              <a:defRPr/>
            </a:pPr>
            <a:endParaRPr lang="en-US" sz="1200" kern="0" dirty="0">
              <a:gradFill>
                <a:gsLst>
                  <a:gs pos="0">
                    <a:srgbClr val="FFFFFF"/>
                  </a:gs>
                  <a:gs pos="100000">
                    <a:srgbClr val="FFFFFF"/>
                  </a:gs>
                </a:gsLst>
                <a:lin ang="5400000" scaled="0"/>
              </a:gradFill>
              <a:latin typeface="Segoe UI"/>
            </a:endParaRPr>
          </a:p>
        </p:txBody>
      </p:sp>
      <p:sp>
        <p:nvSpPr>
          <p:cNvPr id="10" name="Text Placeholder 2"/>
          <p:cNvSpPr txBox="1">
            <a:spLocks/>
          </p:cNvSpPr>
          <p:nvPr/>
        </p:nvSpPr>
        <p:spPr>
          <a:xfrm>
            <a:off x="4658721" y="2005552"/>
            <a:ext cx="2931309" cy="553986"/>
          </a:xfrm>
          <a:prstGeom prst="rect">
            <a:avLst/>
          </a:prstGeom>
        </p:spPr>
        <p:txBody>
          <a:bodyPr vert="horz" wrap="square" lIns="109719" tIns="68574" rIns="109719" bIns="68574"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463">
              <a:buNone/>
              <a:defRPr/>
            </a:pPr>
            <a:r>
              <a:rPr lang="en-US" sz="3000" dirty="0">
                <a:gradFill>
                  <a:gsLst>
                    <a:gs pos="1250">
                      <a:srgbClr val="FFFFFF"/>
                    </a:gs>
                    <a:gs pos="100000">
                      <a:srgbClr val="FFFFFF"/>
                    </a:gs>
                  </a:gsLst>
                  <a:lin ang="5400000" scaled="0"/>
                </a:gradFill>
                <a:latin typeface="Segoe UI Light"/>
              </a:rPr>
              <a:t>Classification</a:t>
            </a:r>
          </a:p>
        </p:txBody>
      </p:sp>
      <p:sp>
        <p:nvSpPr>
          <p:cNvPr id="11" name="Text Placeholder 5"/>
          <p:cNvSpPr txBox="1">
            <a:spLocks/>
          </p:cNvSpPr>
          <p:nvPr/>
        </p:nvSpPr>
        <p:spPr>
          <a:xfrm>
            <a:off x="4702617" y="5030714"/>
            <a:ext cx="2914402" cy="553986"/>
          </a:xfrm>
          <a:prstGeom prst="rect">
            <a:avLst/>
          </a:prstGeom>
        </p:spPr>
        <p:txBody>
          <a:bodyPr vert="horz" wrap="square" lIns="109719" tIns="68574" rIns="109719" bIns="68574"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463">
              <a:buNone/>
              <a:defRPr/>
            </a:pPr>
            <a:r>
              <a:rPr lang="en-US" sz="1500" dirty="0">
                <a:gradFill>
                  <a:gsLst>
                    <a:gs pos="1250">
                      <a:srgbClr val="FFFFFF"/>
                    </a:gs>
                    <a:gs pos="100000">
                      <a:srgbClr val="FFFFFF"/>
                    </a:gs>
                  </a:gsLst>
                  <a:lin ang="5400000" scaled="0"/>
                </a:gradFill>
                <a:latin typeface="Segoe UI"/>
              </a:rPr>
              <a:t>E.g. Will the engine fail? Due to compressor or rotor blade? </a:t>
            </a:r>
          </a:p>
        </p:txBody>
      </p:sp>
      <p:pic>
        <p:nvPicPr>
          <p:cNvPr id="13" name="Picture 12"/>
          <p:cNvPicPr>
            <a:picLocks noChangeAspect="1"/>
          </p:cNvPicPr>
          <p:nvPr/>
        </p:nvPicPr>
        <p:blipFill>
          <a:blip r:embed="rId3"/>
          <a:stretch>
            <a:fillRect/>
          </a:stretch>
        </p:blipFill>
        <p:spPr>
          <a:xfrm>
            <a:off x="1065175" y="2818931"/>
            <a:ext cx="2915893" cy="1412692"/>
          </a:xfrm>
          <a:prstGeom prst="rect">
            <a:avLst/>
          </a:prstGeom>
        </p:spPr>
      </p:pic>
      <p:pic>
        <p:nvPicPr>
          <p:cNvPr id="14" name="Picture 13"/>
          <p:cNvPicPr>
            <a:picLocks noChangeAspect="1"/>
          </p:cNvPicPr>
          <p:nvPr/>
        </p:nvPicPr>
        <p:blipFill>
          <a:blip r:embed="rId4"/>
          <a:stretch>
            <a:fillRect/>
          </a:stretch>
        </p:blipFill>
        <p:spPr>
          <a:xfrm>
            <a:off x="4676932" y="2831430"/>
            <a:ext cx="2903967" cy="1090773"/>
          </a:xfrm>
          <a:prstGeom prst="rect">
            <a:avLst/>
          </a:prstGeom>
        </p:spPr>
      </p:pic>
      <p:pic>
        <p:nvPicPr>
          <p:cNvPr id="15" name="Picture 14"/>
          <p:cNvPicPr>
            <a:picLocks noChangeAspect="1"/>
          </p:cNvPicPr>
          <p:nvPr/>
        </p:nvPicPr>
        <p:blipFill>
          <a:blip r:embed="rId5"/>
          <a:stretch>
            <a:fillRect/>
          </a:stretch>
        </p:blipFill>
        <p:spPr>
          <a:xfrm>
            <a:off x="4675627" y="3960872"/>
            <a:ext cx="2899309" cy="1069843"/>
          </a:xfrm>
          <a:prstGeom prst="rect">
            <a:avLst/>
          </a:prstGeom>
        </p:spPr>
      </p:pic>
      <p:sp>
        <p:nvSpPr>
          <p:cNvPr id="6" name="TextBox 5"/>
          <p:cNvSpPr txBox="1"/>
          <p:nvPr/>
        </p:nvSpPr>
        <p:spPr>
          <a:xfrm>
            <a:off x="624681" y="6392862"/>
            <a:ext cx="6965368"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bg2"/>
                </a:solidFill>
              </a:rPr>
              <a:t>You can use either, they both generate a number</a:t>
            </a:r>
          </a:p>
        </p:txBody>
      </p:sp>
    </p:spTree>
    <p:extLst>
      <p:ext uri="{BB962C8B-B14F-4D97-AF65-F5344CB8AC3E}">
        <p14:creationId xmlns:p14="http://schemas.microsoft.com/office/powerpoint/2010/main" val="154497916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p:cNvSpPr>
            <a:spLocks noGrp="1"/>
          </p:cNvSpPr>
          <p:nvPr>
            <p:ph type="title"/>
          </p:nvPr>
        </p:nvSpPr>
        <p:spPr/>
        <p:txBody>
          <a:bodyPr/>
          <a:lstStyle/>
          <a:p>
            <a:r>
              <a:rPr lang="en-US" dirty="0">
                <a:solidFill>
                  <a:schemeClr val="bg1">
                    <a:lumMod val="75000"/>
                  </a:schemeClr>
                </a:solidFill>
              </a:rPr>
              <a:t>Data Labeling</a:t>
            </a:r>
          </a:p>
        </p:txBody>
      </p:sp>
      <p:graphicFrame>
        <p:nvGraphicFramePr>
          <p:cNvPr id="21" name="Content Placeholder 11"/>
          <p:cNvGraphicFramePr>
            <a:graphicFrameLocks/>
          </p:cNvGraphicFramePr>
          <p:nvPr/>
        </p:nvGraphicFramePr>
        <p:xfrm>
          <a:off x="3825862" y="905351"/>
          <a:ext cx="2357472" cy="4849923"/>
        </p:xfrm>
        <a:graphic>
          <a:graphicData uri="http://schemas.openxmlformats.org/drawingml/2006/table">
            <a:tbl>
              <a:tblPr>
                <a:tableStyleId>{5C22544A-7EE6-4342-B048-85BDC9FD1C3A}</a:tableStyleId>
              </a:tblPr>
              <a:tblGrid>
                <a:gridCol w="392912">
                  <a:extLst>
                    <a:ext uri="{9D8B030D-6E8A-4147-A177-3AD203B41FA5}">
                      <a16:colId xmlns:a16="http://schemas.microsoft.com/office/drawing/2014/main" val="20000"/>
                    </a:ext>
                  </a:extLst>
                </a:gridCol>
                <a:gridCol w="392912">
                  <a:extLst>
                    <a:ext uri="{9D8B030D-6E8A-4147-A177-3AD203B41FA5}">
                      <a16:colId xmlns:a16="http://schemas.microsoft.com/office/drawing/2014/main" val="20001"/>
                    </a:ext>
                  </a:extLst>
                </a:gridCol>
                <a:gridCol w="392912">
                  <a:extLst>
                    <a:ext uri="{9D8B030D-6E8A-4147-A177-3AD203B41FA5}">
                      <a16:colId xmlns:a16="http://schemas.microsoft.com/office/drawing/2014/main" val="20002"/>
                    </a:ext>
                  </a:extLst>
                </a:gridCol>
                <a:gridCol w="392912">
                  <a:extLst>
                    <a:ext uri="{9D8B030D-6E8A-4147-A177-3AD203B41FA5}">
                      <a16:colId xmlns:a16="http://schemas.microsoft.com/office/drawing/2014/main" val="20003"/>
                    </a:ext>
                  </a:extLst>
                </a:gridCol>
                <a:gridCol w="392912">
                  <a:extLst>
                    <a:ext uri="{9D8B030D-6E8A-4147-A177-3AD203B41FA5}">
                      <a16:colId xmlns:a16="http://schemas.microsoft.com/office/drawing/2014/main" val="20004"/>
                    </a:ext>
                  </a:extLst>
                </a:gridCol>
                <a:gridCol w="392912">
                  <a:extLst>
                    <a:ext uri="{9D8B030D-6E8A-4147-A177-3AD203B41FA5}">
                      <a16:colId xmlns:a16="http://schemas.microsoft.com/office/drawing/2014/main" val="20005"/>
                    </a:ext>
                  </a:extLst>
                </a:gridCol>
              </a:tblGrid>
              <a:tr h="124357">
                <a:tc>
                  <a:txBody>
                    <a:bodyPr/>
                    <a:lstStyle/>
                    <a:p>
                      <a:pPr algn="l" fontAlgn="b"/>
                      <a:r>
                        <a:rPr lang="en-US" sz="700" u="none" strike="noStrike" dirty="0">
                          <a:effectLst/>
                        </a:rPr>
                        <a:t>id</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r>
                        <a:rPr lang="en-US" sz="700" u="none" strike="noStrike" dirty="0">
                          <a:effectLst/>
                        </a:rPr>
                        <a:t>cycle</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r>
                        <a:rPr lang="en-US" sz="700" u="none" strike="noStrike" dirty="0">
                          <a:effectLst/>
                        </a:rPr>
                        <a:t>…</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r>
                        <a:rPr lang="en-US" sz="700" u="none" strike="noStrike" dirty="0">
                          <a:effectLst/>
                        </a:rPr>
                        <a:t>RUL</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r>
                        <a:rPr lang="en-US" sz="700" u="none" strike="noStrike" dirty="0">
                          <a:effectLst/>
                        </a:rPr>
                        <a:t>label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r>
                        <a:rPr lang="en-US" sz="700" u="none" strike="noStrike" dirty="0">
                          <a:effectLst/>
                        </a:rPr>
                        <a:t>label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00"/>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9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01"/>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9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02"/>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3</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9</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03"/>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4</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8</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04"/>
                  </a:ext>
                </a:extLst>
              </a:tr>
              <a:tr h="124357">
                <a:tc>
                  <a:txBody>
                    <a:bodyPr/>
                    <a:lstStyle/>
                    <a:p>
                      <a:pPr algn="l" fontAlgn="b"/>
                      <a:r>
                        <a:rPr lang="en-US" sz="700" u="none" strike="noStrike" dirty="0">
                          <a:effectLst/>
                        </a:rPr>
                        <a:t>…</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r>
                        <a:rPr lang="en-US" sz="700" u="none" strike="noStrike" dirty="0">
                          <a:effectLst/>
                        </a:rPr>
                        <a:t>…</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r>
                        <a:rPr lang="en-US" sz="700" u="none" strike="noStrike" dirty="0">
                          <a:effectLst/>
                        </a:rPr>
                        <a:t>…</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r>
                        <a:rPr lang="en-US" sz="700" u="none" strike="noStrike" dirty="0">
                          <a:effectLst/>
                        </a:rPr>
                        <a:t>…</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05"/>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6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32</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06"/>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6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3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07"/>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62</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3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08"/>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63</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9</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09"/>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64</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8</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10"/>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65</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7</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11"/>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66</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6</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12"/>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67</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5</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13"/>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68</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4</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14"/>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69</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3</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15"/>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7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2</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16"/>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7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17"/>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72</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18"/>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73</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9</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19"/>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74</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20"/>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75</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7</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21"/>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76</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6</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22"/>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77</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5</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23"/>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78</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4</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24"/>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79</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3</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25"/>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2</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26"/>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27"/>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2</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28"/>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3</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9</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29"/>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4</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8</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30"/>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5</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7</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31"/>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6</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6</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32"/>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7</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5</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33"/>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8</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4</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34"/>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89</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3</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35"/>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9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36"/>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9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37"/>
                  </a:ext>
                </a:extLst>
              </a:tr>
              <a:tr h="124357">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92</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l" fontAlgn="b"/>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0</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4266" marR="4266" marT="4266" marB="0" anchor="b"/>
                </a:tc>
                <a:tc>
                  <a:txBody>
                    <a:bodyPr/>
                    <a:lstStyle/>
                    <a:p>
                      <a:pPr algn="r" fontAlgn="b"/>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4266" marR="4266" marT="4266" marB="0" anchor="b"/>
                </a:tc>
                <a:extLst>
                  <a:ext uri="{0D108BD9-81ED-4DB2-BD59-A6C34878D82A}">
                    <a16:rowId xmlns:a16="http://schemas.microsoft.com/office/drawing/2014/main" val="10038"/>
                  </a:ext>
                </a:extLst>
              </a:tr>
            </a:tbl>
          </a:graphicData>
        </a:graphic>
      </p:graphicFrame>
      <p:sp>
        <p:nvSpPr>
          <p:cNvPr id="24" name="TextBox 23"/>
          <p:cNvSpPr txBox="1"/>
          <p:nvPr/>
        </p:nvSpPr>
        <p:spPr>
          <a:xfrm>
            <a:off x="7119826" y="1825590"/>
            <a:ext cx="2155428" cy="1173398"/>
          </a:xfrm>
          <a:prstGeom prst="rect">
            <a:avLst/>
          </a:prstGeom>
          <a:noFill/>
        </p:spPr>
        <p:txBody>
          <a:bodyPr wrap="square" rtlCol="0">
            <a:spAutoFit/>
          </a:bodyPr>
          <a:lstStyle/>
          <a:p>
            <a:pPr defTabSz="699433">
              <a:defRPr/>
            </a:pPr>
            <a:r>
              <a:rPr lang="en-US" sz="1405" kern="0" dirty="0">
                <a:solidFill>
                  <a:srgbClr val="505050">
                    <a:lumMod val="75000"/>
                  </a:srgbClr>
                </a:solidFill>
                <a:latin typeface="Segoe UI"/>
              </a:rPr>
              <a:t>Predefined window size for classification models</a:t>
            </a:r>
          </a:p>
          <a:p>
            <a:pPr defTabSz="699433">
              <a:defRPr/>
            </a:pPr>
            <a:endParaRPr lang="en-US" sz="1405" kern="0" dirty="0">
              <a:solidFill>
                <a:srgbClr val="505050">
                  <a:lumMod val="75000"/>
                </a:srgbClr>
              </a:solidFill>
              <a:latin typeface="Segoe UI"/>
            </a:endParaRPr>
          </a:p>
          <a:p>
            <a:pPr defTabSz="699433">
              <a:defRPr/>
            </a:pPr>
            <a:r>
              <a:rPr lang="en-US" sz="1405" kern="0" dirty="0">
                <a:solidFill>
                  <a:srgbClr val="505050">
                    <a:lumMod val="75000"/>
                  </a:srgbClr>
                </a:solidFill>
                <a:latin typeface="Segoe UI"/>
              </a:rPr>
              <a:t>w1 = 30</a:t>
            </a:r>
          </a:p>
          <a:p>
            <a:pPr defTabSz="699433">
              <a:defRPr/>
            </a:pPr>
            <a:r>
              <a:rPr lang="en-US" sz="1405" kern="0" dirty="0">
                <a:solidFill>
                  <a:srgbClr val="505050">
                    <a:lumMod val="75000"/>
                  </a:srgbClr>
                </a:solidFill>
                <a:latin typeface="Segoe UI"/>
              </a:rPr>
              <a:t>w0 = 15</a:t>
            </a:r>
          </a:p>
        </p:txBody>
      </p:sp>
      <p:sp>
        <p:nvSpPr>
          <p:cNvPr id="25" name="Right Brace 24"/>
          <p:cNvSpPr/>
          <p:nvPr/>
        </p:nvSpPr>
        <p:spPr>
          <a:xfrm>
            <a:off x="5805860" y="1914554"/>
            <a:ext cx="1017224" cy="3831723"/>
          </a:xfrm>
          <a:prstGeom prst="rightBrace">
            <a:avLst>
              <a:gd name="adj1" fmla="val 8333"/>
              <a:gd name="adj2" fmla="val 39147"/>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defTabSz="699433">
              <a:defRPr/>
            </a:pPr>
            <a:endParaRPr lang="en-US" sz="1405" kern="0" dirty="0">
              <a:solidFill>
                <a:srgbClr val="505050">
                  <a:lumMod val="75000"/>
                </a:srgbClr>
              </a:solidFill>
              <a:latin typeface="Segoe UI"/>
            </a:endParaRPr>
          </a:p>
        </p:txBody>
      </p:sp>
      <p:sp>
        <p:nvSpPr>
          <p:cNvPr id="26" name="Right Brace 25"/>
          <p:cNvSpPr/>
          <p:nvPr/>
        </p:nvSpPr>
        <p:spPr>
          <a:xfrm>
            <a:off x="6234390" y="3778689"/>
            <a:ext cx="901195" cy="1967587"/>
          </a:xfrm>
          <a:prstGeom prst="rightBrace">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defTabSz="699433">
              <a:defRPr/>
            </a:pPr>
            <a:endParaRPr lang="en-US" sz="1405" kern="0" dirty="0">
              <a:solidFill>
                <a:srgbClr val="505050">
                  <a:lumMod val="75000"/>
                </a:srgbClr>
              </a:solidFill>
              <a:latin typeface="Segoe UI"/>
            </a:endParaRPr>
          </a:p>
        </p:txBody>
      </p:sp>
      <p:sp>
        <p:nvSpPr>
          <p:cNvPr id="27" name="TextBox 26"/>
          <p:cNvSpPr txBox="1"/>
          <p:nvPr/>
        </p:nvSpPr>
        <p:spPr>
          <a:xfrm>
            <a:off x="6612873" y="3120399"/>
            <a:ext cx="385270" cy="524759"/>
          </a:xfrm>
          <a:prstGeom prst="rect">
            <a:avLst/>
          </a:prstGeom>
          <a:noFill/>
        </p:spPr>
        <p:txBody>
          <a:bodyPr wrap="square" rtlCol="0">
            <a:spAutoFit/>
          </a:bodyPr>
          <a:lstStyle/>
          <a:p>
            <a:pPr defTabSz="699433">
              <a:defRPr/>
            </a:pPr>
            <a:r>
              <a:rPr lang="en-US" sz="1405" kern="0" dirty="0">
                <a:solidFill>
                  <a:srgbClr val="505050">
                    <a:lumMod val="75000"/>
                  </a:srgbClr>
                </a:solidFill>
                <a:latin typeface="Segoe UI"/>
              </a:rPr>
              <a:t>w1</a:t>
            </a:r>
          </a:p>
        </p:txBody>
      </p:sp>
      <p:sp>
        <p:nvSpPr>
          <p:cNvPr id="28" name="TextBox 27"/>
          <p:cNvSpPr txBox="1"/>
          <p:nvPr/>
        </p:nvSpPr>
        <p:spPr>
          <a:xfrm>
            <a:off x="6912821" y="4471740"/>
            <a:ext cx="385270" cy="524759"/>
          </a:xfrm>
          <a:prstGeom prst="rect">
            <a:avLst/>
          </a:prstGeom>
          <a:noFill/>
        </p:spPr>
        <p:txBody>
          <a:bodyPr wrap="square" rtlCol="0">
            <a:spAutoFit/>
          </a:bodyPr>
          <a:lstStyle/>
          <a:p>
            <a:pPr defTabSz="699433">
              <a:defRPr/>
            </a:pPr>
            <a:r>
              <a:rPr lang="en-US" sz="1405" kern="0" dirty="0">
                <a:solidFill>
                  <a:srgbClr val="505050">
                    <a:lumMod val="75000"/>
                  </a:srgbClr>
                </a:solidFill>
                <a:latin typeface="Segoe UI"/>
              </a:rPr>
              <a:t>w0</a:t>
            </a:r>
          </a:p>
        </p:txBody>
      </p:sp>
      <p:sp>
        <p:nvSpPr>
          <p:cNvPr id="29" name="TextBox 28"/>
          <p:cNvSpPr txBox="1"/>
          <p:nvPr/>
        </p:nvSpPr>
        <p:spPr>
          <a:xfrm>
            <a:off x="664257" y="2240425"/>
            <a:ext cx="2399415" cy="470815"/>
          </a:xfrm>
          <a:prstGeom prst="rect">
            <a:avLst/>
          </a:prstGeom>
          <a:noFill/>
        </p:spPr>
        <p:txBody>
          <a:bodyPr wrap="square" lIns="137109" tIns="109687" rIns="137109" bIns="109687" rtlCol="0">
            <a:spAutoFit/>
          </a:bodyPr>
          <a:lstStyle/>
          <a:p>
            <a:pPr defTabSz="699433">
              <a:lnSpc>
                <a:spcPct val="90000"/>
              </a:lnSpc>
              <a:spcAft>
                <a:spcPts val="450"/>
              </a:spcAft>
              <a:defRPr/>
            </a:pPr>
            <a:r>
              <a:rPr lang="en-US" kern="0" dirty="0">
                <a:solidFill>
                  <a:srgbClr val="505050">
                    <a:lumMod val="75000"/>
                  </a:srgbClr>
                </a:solidFill>
                <a:latin typeface="Segoe UI"/>
              </a:rPr>
              <a:t>Regression</a:t>
            </a:r>
          </a:p>
        </p:txBody>
      </p:sp>
      <p:sp>
        <p:nvSpPr>
          <p:cNvPr id="30" name="TextBox 29"/>
          <p:cNvSpPr txBox="1"/>
          <p:nvPr/>
        </p:nvSpPr>
        <p:spPr>
          <a:xfrm>
            <a:off x="664257" y="2813601"/>
            <a:ext cx="2399415" cy="470815"/>
          </a:xfrm>
          <a:prstGeom prst="rect">
            <a:avLst/>
          </a:prstGeom>
          <a:noFill/>
        </p:spPr>
        <p:txBody>
          <a:bodyPr wrap="square" lIns="137109" tIns="109687" rIns="137109" bIns="109687" rtlCol="0">
            <a:spAutoFit/>
          </a:bodyPr>
          <a:lstStyle/>
          <a:p>
            <a:pPr defTabSz="699433">
              <a:lnSpc>
                <a:spcPct val="90000"/>
              </a:lnSpc>
              <a:spcAft>
                <a:spcPts val="450"/>
              </a:spcAft>
              <a:defRPr/>
            </a:pPr>
            <a:r>
              <a:rPr lang="en-US" kern="0" dirty="0">
                <a:solidFill>
                  <a:srgbClr val="505050">
                    <a:lumMod val="75000"/>
                  </a:srgbClr>
                </a:solidFill>
                <a:latin typeface="Segoe UI"/>
              </a:rPr>
              <a:t>Binary classification</a:t>
            </a:r>
          </a:p>
        </p:txBody>
      </p:sp>
      <p:sp>
        <p:nvSpPr>
          <p:cNvPr id="31" name="TextBox 30"/>
          <p:cNvSpPr txBox="1"/>
          <p:nvPr/>
        </p:nvSpPr>
        <p:spPr>
          <a:xfrm>
            <a:off x="664257" y="3400154"/>
            <a:ext cx="2970704" cy="470815"/>
          </a:xfrm>
          <a:prstGeom prst="rect">
            <a:avLst/>
          </a:prstGeom>
          <a:noFill/>
        </p:spPr>
        <p:txBody>
          <a:bodyPr wrap="square" lIns="137109" tIns="109687" rIns="137109" bIns="109687" rtlCol="0">
            <a:spAutoFit/>
          </a:bodyPr>
          <a:lstStyle/>
          <a:p>
            <a:pPr defTabSz="699433">
              <a:lnSpc>
                <a:spcPct val="90000"/>
              </a:lnSpc>
              <a:spcAft>
                <a:spcPts val="450"/>
              </a:spcAft>
              <a:defRPr/>
            </a:pPr>
            <a:r>
              <a:rPr lang="en-US" kern="0" dirty="0">
                <a:solidFill>
                  <a:srgbClr val="505050">
                    <a:lumMod val="75000"/>
                  </a:srgbClr>
                </a:solidFill>
                <a:latin typeface="Segoe UI"/>
              </a:rPr>
              <a:t>Multi-class classification</a:t>
            </a:r>
          </a:p>
        </p:txBody>
      </p:sp>
      <p:cxnSp>
        <p:nvCxnSpPr>
          <p:cNvPr id="32" name="Straight Arrow Connector 31"/>
          <p:cNvCxnSpPr/>
          <p:nvPr/>
        </p:nvCxnSpPr>
        <p:spPr>
          <a:xfrm flipV="1">
            <a:off x="2149609" y="1060962"/>
            <a:ext cx="2799317" cy="1319266"/>
          </a:xfrm>
          <a:prstGeom prst="straightConnector1">
            <a:avLst/>
          </a:prstGeom>
          <a:ln w="28575">
            <a:solidFill>
              <a:srgbClr val="FF000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2835156" y="1085777"/>
            <a:ext cx="2688332" cy="1963187"/>
          </a:xfrm>
          <a:prstGeom prst="straightConnector1">
            <a:avLst/>
          </a:prstGeom>
          <a:ln w="28575">
            <a:solidFill>
              <a:srgbClr val="FF000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3310615" y="1096658"/>
            <a:ext cx="2686053" cy="2538860"/>
          </a:xfrm>
          <a:prstGeom prst="straightConnector1">
            <a:avLst/>
          </a:prstGeom>
          <a:ln w="28575">
            <a:solidFill>
              <a:srgbClr val="FF000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35" name="Oval 34"/>
          <p:cNvSpPr/>
          <p:nvPr/>
        </p:nvSpPr>
        <p:spPr bwMode="auto">
          <a:xfrm>
            <a:off x="4348148" y="5618641"/>
            <a:ext cx="399902" cy="183942"/>
          </a:xfrm>
          <a:prstGeom prst="ellipse">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65" rIns="0" bIns="34965" numCol="1" rtlCol="0" anchor="ctr" anchorCtr="0" compatLnSpc="1">
            <a:prstTxWarp prst="textNoShape">
              <a:avLst/>
            </a:prstTxWarp>
          </a:bodyPr>
          <a:lstStyle/>
          <a:p>
            <a:pPr defTabSz="699097">
              <a:defRPr/>
            </a:pPr>
            <a:endParaRPr lang="en-US" sz="1500" kern="0" dirty="0">
              <a:solidFill>
                <a:srgbClr val="505050">
                  <a:lumMod val="75000"/>
                </a:srgbClr>
              </a:solidFill>
              <a:latin typeface="Segoe UI"/>
            </a:endParaRPr>
          </a:p>
        </p:txBody>
      </p:sp>
      <p:sp>
        <p:nvSpPr>
          <p:cNvPr id="41" name="Rectangle 40"/>
          <p:cNvSpPr/>
          <p:nvPr/>
        </p:nvSpPr>
        <p:spPr bwMode="auto">
          <a:xfrm>
            <a:off x="4948926" y="875283"/>
            <a:ext cx="285645" cy="174799"/>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65" rIns="0" bIns="34965" numCol="1" rtlCol="0" anchor="ctr" anchorCtr="0" compatLnSpc="1">
            <a:prstTxWarp prst="textNoShape">
              <a:avLst/>
            </a:prstTxWarp>
          </a:bodyPr>
          <a:lstStyle/>
          <a:p>
            <a:pPr defTabSz="699097">
              <a:defRPr/>
            </a:pPr>
            <a:endParaRPr lang="en-US" sz="1500" kern="0" dirty="0">
              <a:solidFill>
                <a:srgbClr val="505050">
                  <a:lumMod val="75000"/>
                </a:srgbClr>
              </a:solidFill>
              <a:latin typeface="Segoe UI"/>
            </a:endParaRPr>
          </a:p>
        </p:txBody>
      </p:sp>
      <p:sp>
        <p:nvSpPr>
          <p:cNvPr id="42" name="Rectangle 41"/>
          <p:cNvSpPr/>
          <p:nvPr/>
        </p:nvSpPr>
        <p:spPr bwMode="auto">
          <a:xfrm>
            <a:off x="5348828" y="876474"/>
            <a:ext cx="349319" cy="173609"/>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65" rIns="0" bIns="34965" numCol="1" rtlCol="0" anchor="ctr" anchorCtr="0" compatLnSpc="1">
            <a:prstTxWarp prst="textNoShape">
              <a:avLst/>
            </a:prstTxWarp>
          </a:bodyPr>
          <a:lstStyle/>
          <a:p>
            <a:pPr defTabSz="699097">
              <a:defRPr/>
            </a:pPr>
            <a:endParaRPr lang="en-US" sz="1500" kern="0" dirty="0">
              <a:solidFill>
                <a:srgbClr val="505050">
                  <a:lumMod val="75000"/>
                </a:srgbClr>
              </a:solidFill>
              <a:latin typeface="Segoe UI"/>
            </a:endParaRPr>
          </a:p>
        </p:txBody>
      </p:sp>
      <p:sp>
        <p:nvSpPr>
          <p:cNvPr id="43" name="Rectangle 42"/>
          <p:cNvSpPr/>
          <p:nvPr/>
        </p:nvSpPr>
        <p:spPr bwMode="auto">
          <a:xfrm>
            <a:off x="5754385" y="887351"/>
            <a:ext cx="349319" cy="173609"/>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65" rIns="0" bIns="34965" numCol="1" rtlCol="0" anchor="ctr" anchorCtr="0" compatLnSpc="1">
            <a:prstTxWarp prst="textNoShape">
              <a:avLst/>
            </a:prstTxWarp>
          </a:bodyPr>
          <a:lstStyle/>
          <a:p>
            <a:pPr defTabSz="699097">
              <a:defRPr/>
            </a:pPr>
            <a:endParaRPr lang="en-US" sz="1500" kern="0" dirty="0">
              <a:solidFill>
                <a:srgbClr val="505050">
                  <a:lumMod val="75000"/>
                </a:srgbClr>
              </a:solidFill>
              <a:latin typeface="Segoe UI"/>
            </a:endParaRPr>
          </a:p>
        </p:txBody>
      </p:sp>
    </p:spTree>
    <p:extLst>
      <p:ext uri="{BB962C8B-B14F-4D97-AF65-F5344CB8AC3E}">
        <p14:creationId xmlns:p14="http://schemas.microsoft.com/office/powerpoint/2010/main" val="95909646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1702" y="397625"/>
            <a:ext cx="7543157" cy="2857257"/>
          </a:xfrm>
        </p:spPr>
        <p:txBody>
          <a:bodyPr/>
          <a:lstStyle/>
          <a:p>
            <a:r>
              <a:rPr lang="en-US" sz="3000" i="1" dirty="0"/>
              <a:t>“	Feature engineering is the most important but underrated step of machine learning.”</a:t>
            </a:r>
          </a:p>
        </p:txBody>
      </p:sp>
      <p:sp>
        <p:nvSpPr>
          <p:cNvPr id="4" name="TextBox 3"/>
          <p:cNvSpPr txBox="1"/>
          <p:nvPr/>
        </p:nvSpPr>
        <p:spPr>
          <a:xfrm>
            <a:off x="1120281" y="2049462"/>
            <a:ext cx="7085997" cy="3714588"/>
          </a:xfrm>
          <a:prstGeom prst="rect">
            <a:avLst/>
          </a:prstGeom>
          <a:noFill/>
        </p:spPr>
        <p:txBody>
          <a:bodyPr wrap="square" lIns="137148" tIns="109719" rIns="137148" bIns="109719" rtlCol="0">
            <a:spAutoFit/>
          </a:bodyPr>
          <a:lstStyle/>
          <a:p>
            <a:pPr>
              <a:lnSpc>
                <a:spcPct val="90000"/>
              </a:lnSpc>
              <a:spcAft>
                <a:spcPts val="450"/>
              </a:spcAft>
            </a:pPr>
            <a:r>
              <a:rPr lang="en-US" sz="4049" dirty="0">
                <a:gradFill>
                  <a:gsLst>
                    <a:gs pos="2917">
                      <a:schemeClr val="tx1"/>
                    </a:gs>
                    <a:gs pos="30000">
                      <a:schemeClr val="tx1"/>
                    </a:gs>
                  </a:gsLst>
                  <a:lin ang="5400000" scaled="0"/>
                </a:gradFill>
              </a:rPr>
              <a:t>Better features are better than better algorithms…</a:t>
            </a:r>
          </a:p>
          <a:p>
            <a:pPr>
              <a:lnSpc>
                <a:spcPct val="90000"/>
              </a:lnSpc>
              <a:spcAft>
                <a:spcPts val="450"/>
              </a:spcAft>
            </a:pPr>
            <a:r>
              <a:rPr lang="en-US" sz="4049" dirty="0">
                <a:gradFill>
                  <a:gsLst>
                    <a:gs pos="2917">
                      <a:schemeClr val="tx1"/>
                    </a:gs>
                    <a:gs pos="30000">
                      <a:schemeClr val="tx1"/>
                    </a:gs>
                  </a:gsLst>
                  <a:lin ang="5400000" scaled="0"/>
                </a:gradFill>
              </a:rPr>
              <a:t>Better features are better than more data...</a:t>
            </a:r>
          </a:p>
          <a:p>
            <a:pPr>
              <a:lnSpc>
                <a:spcPct val="90000"/>
              </a:lnSpc>
              <a:spcAft>
                <a:spcPts val="450"/>
              </a:spcAft>
            </a:pPr>
            <a:r>
              <a:rPr lang="en-US" sz="4049" dirty="0">
                <a:gradFill>
                  <a:gsLst>
                    <a:gs pos="2917">
                      <a:schemeClr val="tx1"/>
                    </a:gs>
                    <a:gs pos="30000">
                      <a:schemeClr val="tx1"/>
                    </a:gs>
                  </a:gsLst>
                  <a:lin ang="5400000" scaled="0"/>
                </a:gradFill>
              </a:rPr>
              <a:t>More data is better than better algorithms...</a:t>
            </a:r>
          </a:p>
        </p:txBody>
      </p:sp>
    </p:spTree>
    <p:extLst>
      <p:ext uri="{BB962C8B-B14F-4D97-AF65-F5344CB8AC3E}">
        <p14:creationId xmlns:p14="http://schemas.microsoft.com/office/powerpoint/2010/main" val="402558102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7481" y="144462"/>
            <a:ext cx="8953119" cy="3468086"/>
          </a:xfrm>
        </p:spPr>
        <p:txBody>
          <a:bodyPr/>
          <a:lstStyle/>
          <a:p>
            <a:r>
              <a:rPr lang="en-US" dirty="0"/>
              <a:t>Feature Engineering is...</a:t>
            </a:r>
            <a:br>
              <a:rPr lang="en-US" dirty="0"/>
            </a:br>
            <a:r>
              <a:rPr lang="en-US" dirty="0"/>
              <a:t>	having a toolbox of “tricks”</a:t>
            </a:r>
            <a:br>
              <a:rPr lang="en-US" dirty="0"/>
            </a:br>
            <a:r>
              <a:rPr lang="en-US" dirty="0"/>
              <a:t>	obsessively knowing your data and your industry</a:t>
            </a:r>
            <a:br>
              <a:rPr lang="en-US" dirty="0"/>
            </a:br>
            <a:br>
              <a:rPr lang="en-US" dirty="0"/>
            </a:br>
            <a:r>
              <a:rPr lang="en-US" dirty="0"/>
              <a:t>Data Acquisition is the Number One Reason why data science projects either succeed or fail.  </a:t>
            </a:r>
            <a:br>
              <a:rPr lang="en-US" dirty="0"/>
            </a:br>
            <a:br>
              <a:rPr lang="en-US" dirty="0"/>
            </a:br>
            <a:r>
              <a:rPr lang="en-US" dirty="0"/>
              <a:t>As Data Professionals we need to help our data scientists make the best use of data.  They often don’t know the data as well as we do.  </a:t>
            </a:r>
            <a:br>
              <a:rPr lang="en-US" dirty="0"/>
            </a:br>
            <a:br>
              <a:rPr lang="en-US" dirty="0"/>
            </a:br>
            <a:r>
              <a:rPr lang="en-US" dirty="0"/>
              <a:t>The average R script is 80% ETL, 20% model.  That is WRONG.  We must help our data scientists.  </a:t>
            </a:r>
          </a:p>
        </p:txBody>
      </p:sp>
    </p:spTree>
    <p:extLst>
      <p:ext uri="{BB962C8B-B14F-4D97-AF65-F5344CB8AC3E}">
        <p14:creationId xmlns:p14="http://schemas.microsoft.com/office/powerpoint/2010/main" val="3332712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ean Missing Data</a:t>
            </a:r>
          </a:p>
        </p:txBody>
      </p:sp>
      <p:sp>
        <p:nvSpPr>
          <p:cNvPr id="3" name="Text Placeholder 5"/>
          <p:cNvSpPr txBox="1">
            <a:spLocks/>
          </p:cNvSpPr>
          <p:nvPr/>
        </p:nvSpPr>
        <p:spPr>
          <a:xfrm>
            <a:off x="205961" y="1784099"/>
            <a:ext cx="8914641" cy="428469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463">
              <a:buNone/>
              <a:defRPr/>
            </a:pPr>
            <a:r>
              <a:rPr lang="en-US" sz="3000" dirty="0">
                <a:gradFill>
                  <a:gsLst>
                    <a:gs pos="1250">
                      <a:srgbClr val="505050"/>
                    </a:gs>
                    <a:gs pos="100000">
                      <a:srgbClr val="505050"/>
                    </a:gs>
                  </a:gsLst>
                  <a:lin ang="5400000" scaled="0"/>
                </a:gradFill>
                <a:latin typeface="Segoe UI Light"/>
              </a:rPr>
              <a:t>Remove missing data</a:t>
            </a:r>
          </a:p>
          <a:p>
            <a:pPr marL="428568" lvl="2" indent="-257141" defTabSz="699463">
              <a:defRPr/>
            </a:pPr>
            <a:r>
              <a:rPr lang="en-US" sz="1500" dirty="0">
                <a:gradFill>
                  <a:gsLst>
                    <a:gs pos="1250">
                      <a:srgbClr val="505050"/>
                    </a:gs>
                    <a:gs pos="100000">
                      <a:srgbClr val="505050"/>
                    </a:gs>
                  </a:gsLst>
                  <a:lin ang="5400000" scaled="0"/>
                </a:gradFill>
                <a:latin typeface="Segoe UI Semilight"/>
              </a:rPr>
              <a:t>Delete all rows that contain missing values</a:t>
            </a:r>
          </a:p>
          <a:p>
            <a:pPr marL="428568" lvl="2" indent="-257141" defTabSz="699463">
              <a:defRPr/>
            </a:pPr>
            <a:r>
              <a:rPr lang="en-US" sz="1500" dirty="0">
                <a:gradFill>
                  <a:gsLst>
                    <a:gs pos="1250">
                      <a:srgbClr val="505050"/>
                    </a:gs>
                    <a:gs pos="100000">
                      <a:srgbClr val="505050"/>
                    </a:gs>
                  </a:gsLst>
                  <a:lin ang="5400000" scaled="0"/>
                </a:gradFill>
                <a:latin typeface="Segoe UI Semilight"/>
              </a:rPr>
              <a:t>Delete the column which contains missing values </a:t>
            </a:r>
          </a:p>
          <a:p>
            <a:pPr marL="428568" lvl="2" indent="-257141" defTabSz="699463">
              <a:defRPr/>
            </a:pPr>
            <a:endParaRPr lang="en-US" sz="1500" dirty="0">
              <a:gradFill>
                <a:gsLst>
                  <a:gs pos="1250">
                    <a:srgbClr val="505050"/>
                  </a:gs>
                  <a:gs pos="100000">
                    <a:srgbClr val="505050"/>
                  </a:gs>
                </a:gsLst>
                <a:lin ang="5400000" scaled="0"/>
              </a:gradFill>
              <a:latin typeface="Segoe UI Semilight"/>
            </a:endParaRPr>
          </a:p>
          <a:p>
            <a:pPr marL="0" indent="0" defTabSz="699463">
              <a:buNone/>
              <a:defRPr/>
            </a:pPr>
            <a:r>
              <a:rPr lang="en-US" sz="3000" dirty="0">
                <a:gradFill>
                  <a:gsLst>
                    <a:gs pos="1250">
                      <a:srgbClr val="505050"/>
                    </a:gs>
                    <a:gs pos="100000">
                      <a:srgbClr val="505050"/>
                    </a:gs>
                  </a:gsLst>
                  <a:lin ang="5400000" scaled="0"/>
                </a:gradFill>
                <a:latin typeface="Segoe UI Light"/>
              </a:rPr>
              <a:t>Replace missing values with a new value</a:t>
            </a:r>
          </a:p>
          <a:p>
            <a:pPr marL="428568" lvl="2" indent="-257141" defTabSz="699463">
              <a:defRPr/>
            </a:pPr>
            <a:r>
              <a:rPr lang="en-US" sz="1500" dirty="0">
                <a:gradFill>
                  <a:gsLst>
                    <a:gs pos="1250">
                      <a:srgbClr val="505050"/>
                    </a:gs>
                    <a:gs pos="100000">
                      <a:srgbClr val="505050"/>
                    </a:gs>
                  </a:gsLst>
                  <a:lin ang="5400000" scaled="0"/>
                </a:gradFill>
                <a:latin typeface="Segoe UI Semilight"/>
              </a:rPr>
              <a:t>Categorical data: create a new missing category</a:t>
            </a:r>
          </a:p>
          <a:p>
            <a:pPr marL="428568" lvl="2" indent="-257141" defTabSz="699463">
              <a:defRPr/>
            </a:pPr>
            <a:r>
              <a:rPr lang="en-US" sz="1500" dirty="0">
                <a:gradFill>
                  <a:gsLst>
                    <a:gs pos="1250">
                      <a:srgbClr val="505050"/>
                    </a:gs>
                    <a:gs pos="100000">
                      <a:srgbClr val="505050"/>
                    </a:gs>
                  </a:gsLst>
                  <a:lin ang="5400000" scaled="0"/>
                </a:gradFill>
                <a:latin typeface="Segoe UI Semilight"/>
              </a:rPr>
              <a:t>Numerical data has many approaches to replace missing values</a:t>
            </a:r>
          </a:p>
          <a:p>
            <a:pPr marL="599995" lvl="3" indent="-257141" defTabSz="699463">
              <a:defRPr/>
            </a:pPr>
            <a:r>
              <a:rPr lang="en-US" sz="1500" dirty="0">
                <a:gradFill>
                  <a:gsLst>
                    <a:gs pos="1250">
                      <a:srgbClr val="505050"/>
                    </a:gs>
                    <a:gs pos="100000">
                      <a:srgbClr val="505050"/>
                    </a:gs>
                  </a:gsLst>
                  <a:lin ang="5400000" scaled="0"/>
                </a:gradFill>
                <a:latin typeface="Segoe UI Semilight"/>
              </a:rPr>
              <a:t>Replace using MICE (Multiple Imputation by Chained Equations) </a:t>
            </a:r>
          </a:p>
          <a:p>
            <a:pPr marL="599995" lvl="3" indent="-257141" defTabSz="699463">
              <a:defRPr/>
            </a:pPr>
            <a:r>
              <a:rPr lang="en-US" sz="1500" dirty="0">
                <a:gradFill>
                  <a:gsLst>
                    <a:gs pos="1250">
                      <a:srgbClr val="505050"/>
                    </a:gs>
                    <a:gs pos="100000">
                      <a:srgbClr val="505050"/>
                    </a:gs>
                  </a:gsLst>
                  <a:lin ang="5400000" scaled="0"/>
                </a:gradFill>
                <a:latin typeface="Segoe UI Semilight"/>
              </a:rPr>
              <a:t>Replace with mean</a:t>
            </a:r>
          </a:p>
          <a:p>
            <a:pPr marL="599995" lvl="3" indent="-257141" defTabSz="699463">
              <a:defRPr/>
            </a:pPr>
            <a:r>
              <a:rPr lang="en-US" sz="1500" dirty="0">
                <a:gradFill>
                  <a:gsLst>
                    <a:gs pos="1250">
                      <a:srgbClr val="505050"/>
                    </a:gs>
                    <a:gs pos="100000">
                      <a:srgbClr val="505050"/>
                    </a:gs>
                  </a:gsLst>
                  <a:lin ang="5400000" scaled="0"/>
                </a:gradFill>
                <a:latin typeface="Segoe UI Semilight"/>
              </a:rPr>
              <a:t>Replace with median</a:t>
            </a:r>
          </a:p>
          <a:p>
            <a:pPr marL="599995" lvl="3" indent="-257141" defTabSz="699463">
              <a:defRPr/>
            </a:pPr>
            <a:r>
              <a:rPr lang="en-US" sz="1500" dirty="0">
                <a:gradFill>
                  <a:gsLst>
                    <a:gs pos="1250">
                      <a:srgbClr val="505050"/>
                    </a:gs>
                    <a:gs pos="100000">
                      <a:srgbClr val="505050"/>
                    </a:gs>
                  </a:gsLst>
                  <a:lin ang="5400000" scaled="0"/>
                </a:gradFill>
                <a:latin typeface="Segoe UI Semilight"/>
              </a:rPr>
              <a:t>Replace with mode</a:t>
            </a:r>
          </a:p>
          <a:p>
            <a:pPr marL="599995" lvl="3" indent="-257141" defTabSz="699463">
              <a:defRPr/>
            </a:pPr>
            <a:r>
              <a:rPr lang="en-US" sz="1500" dirty="0">
                <a:gradFill>
                  <a:gsLst>
                    <a:gs pos="1250">
                      <a:srgbClr val="505050"/>
                    </a:gs>
                    <a:gs pos="100000">
                      <a:srgbClr val="505050"/>
                    </a:gs>
                  </a:gsLst>
                  <a:lin ang="5400000" scaled="0"/>
                </a:gradFill>
                <a:latin typeface="Segoe UI Semilight"/>
              </a:rPr>
              <a:t>Replace with probabilistic PCA</a:t>
            </a:r>
          </a:p>
          <a:p>
            <a:pPr marL="599995" lvl="3" indent="-257141" defTabSz="699463">
              <a:defRPr/>
            </a:pPr>
            <a:r>
              <a:rPr lang="en-US" sz="1500" dirty="0">
                <a:gradFill>
                  <a:gsLst>
                    <a:gs pos="1250">
                      <a:srgbClr val="505050"/>
                    </a:gs>
                    <a:gs pos="100000">
                      <a:srgbClr val="505050"/>
                    </a:gs>
                  </a:gsLst>
                  <a:lin ang="5400000" scaled="0"/>
                </a:gradFill>
                <a:latin typeface="Segoe UI Semilight"/>
              </a:rPr>
              <a:t>Custom substitution value (domain knowledge)</a:t>
            </a:r>
          </a:p>
        </p:txBody>
      </p:sp>
    </p:spTree>
    <p:extLst>
      <p:ext uri="{BB962C8B-B14F-4D97-AF65-F5344CB8AC3E}">
        <p14:creationId xmlns:p14="http://schemas.microsoft.com/office/powerpoint/2010/main" val="152624033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7482" y="144462"/>
            <a:ext cx="8534400" cy="685800"/>
          </a:xfrm>
        </p:spPr>
        <p:txBody>
          <a:bodyPr/>
          <a:lstStyle/>
          <a:p>
            <a:r>
              <a:rPr lang="en-US" dirty="0"/>
              <a:t>Feature Engineering Best Practices</a:t>
            </a:r>
            <a:br>
              <a:rPr lang="en-US"/>
            </a:br>
            <a:br>
              <a:rPr lang="en-US"/>
            </a:br>
            <a:endParaRPr lang="en-US" dirty="0"/>
          </a:p>
        </p:txBody>
      </p:sp>
      <p:sp>
        <p:nvSpPr>
          <p:cNvPr id="3" name="Title 3"/>
          <p:cNvSpPr txBox="1">
            <a:spLocks/>
          </p:cNvSpPr>
          <p:nvPr/>
        </p:nvSpPr>
        <p:spPr>
          <a:xfrm>
            <a:off x="167482" y="1135062"/>
            <a:ext cx="8534400" cy="4648200"/>
          </a:xfrm>
          <a:prstGeom prst="rect">
            <a:avLst/>
          </a:prstGeom>
        </p:spPr>
        <p:txBody>
          <a:bodyPr vert="horz" wrap="square" lIns="146304" tIns="91440" rIns="146304" bIns="91440" rtlCol="0" anchor="t">
            <a:noAutofit/>
          </a:bodyPr>
          <a:lstStyle>
            <a:lvl1pPr algn="l" defTabSz="699463" rtl="0" eaLnBrk="1" latinLnBrk="0" hangingPunct="1">
              <a:lnSpc>
                <a:spcPct val="90000"/>
              </a:lnSpc>
              <a:spcBef>
                <a:spcPct val="0"/>
              </a:spcBef>
              <a:buNone/>
              <a:defRPr lang="en-US" sz="3000" b="0" kern="1200" cap="none" spc="-76" baseline="0" dirty="0" smtClean="0">
                <a:ln w="3175">
                  <a:noFill/>
                </a:ln>
                <a:solidFill>
                  <a:schemeClr val="tx2"/>
                </a:solidFill>
                <a:effectLst/>
                <a:latin typeface="+mj-lt"/>
                <a:ea typeface="+mn-ea"/>
                <a:cs typeface="Segoe UI" pitchFamily="34" charset="0"/>
              </a:defRPr>
            </a:lvl1pPr>
          </a:lstStyle>
          <a:p>
            <a:pPr marL="457200" indent="-457200">
              <a:buFont typeface="Arial" charset="0"/>
              <a:buChar char="•"/>
            </a:pPr>
            <a:r>
              <a:rPr lang="en-US" dirty="0"/>
              <a:t>handle missing data</a:t>
            </a:r>
          </a:p>
          <a:p>
            <a:pPr marL="457200" indent="-457200">
              <a:buFont typeface="Arial" charset="0"/>
              <a:buChar char="•"/>
            </a:pPr>
            <a:r>
              <a:rPr lang="en-US" dirty="0"/>
              <a:t>consider changing your data model</a:t>
            </a:r>
          </a:p>
          <a:p>
            <a:pPr marL="923571" lvl="1" indent="-457200">
              <a:buFont typeface="Arial" charset="0"/>
              <a:buChar char="•"/>
            </a:pPr>
            <a:r>
              <a:rPr lang="en-US" dirty="0"/>
              <a:t>time series </a:t>
            </a:r>
          </a:p>
          <a:p>
            <a:pPr marL="457200" indent="-457200">
              <a:buFont typeface="Arial" charset="0"/>
              <a:buChar char="•"/>
            </a:pPr>
            <a:r>
              <a:rPr lang="en-US" dirty="0"/>
              <a:t>always do data profiling.  Find outliers, understand your data</a:t>
            </a:r>
          </a:p>
          <a:p>
            <a:pPr marL="457200" indent="-457200">
              <a:buFont typeface="Arial" charset="0"/>
              <a:buChar char="•"/>
            </a:pPr>
            <a:r>
              <a:rPr lang="en-US" dirty="0"/>
              <a:t>You’ll likely have a dataset of hundreds or thousands of feature candidates.  That doesn’t mean your model should use them all.  Most models work best with a handful of REALLY GOOD curated features.  </a:t>
            </a:r>
            <a:br>
              <a:rPr lang="en-US" dirty="0"/>
            </a:br>
            <a:br>
              <a:rPr lang="en-US" dirty="0"/>
            </a:br>
            <a:endParaRPr lang="en-US" dirty="0"/>
          </a:p>
        </p:txBody>
      </p:sp>
    </p:spTree>
    <p:extLst>
      <p:ext uri="{BB962C8B-B14F-4D97-AF65-F5344CB8AC3E}">
        <p14:creationId xmlns:p14="http://schemas.microsoft.com/office/powerpoint/2010/main" val="10599145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7482" y="144462"/>
            <a:ext cx="8534400" cy="685800"/>
          </a:xfrm>
        </p:spPr>
        <p:txBody>
          <a:bodyPr/>
          <a:lstStyle/>
          <a:p>
            <a:r>
              <a:rPr lang="en-US" dirty="0"/>
              <a:t>Feature Engineering Best Practices – Handling Continuous Numerical Values</a:t>
            </a:r>
            <a:br>
              <a:rPr lang="en-US" dirty="0"/>
            </a:br>
            <a:br>
              <a:rPr lang="en-US" dirty="0"/>
            </a:br>
            <a:endParaRPr lang="en-US" dirty="0"/>
          </a:p>
        </p:txBody>
      </p:sp>
      <p:sp>
        <p:nvSpPr>
          <p:cNvPr id="3" name="Title 3"/>
          <p:cNvSpPr txBox="1">
            <a:spLocks/>
          </p:cNvSpPr>
          <p:nvPr/>
        </p:nvSpPr>
        <p:spPr>
          <a:xfrm>
            <a:off x="167482" y="1135062"/>
            <a:ext cx="8534400" cy="4419600"/>
          </a:xfrm>
          <a:prstGeom prst="rect">
            <a:avLst/>
          </a:prstGeom>
        </p:spPr>
        <p:txBody>
          <a:bodyPr vert="horz" wrap="square" lIns="146304" tIns="91440" rIns="146304" bIns="91440" rtlCol="0" anchor="t">
            <a:noAutofit/>
          </a:bodyPr>
          <a:lstStyle>
            <a:lvl1pPr algn="l" defTabSz="699463" rtl="0" eaLnBrk="1" latinLnBrk="0" hangingPunct="1">
              <a:lnSpc>
                <a:spcPct val="90000"/>
              </a:lnSpc>
              <a:spcBef>
                <a:spcPct val="0"/>
              </a:spcBef>
              <a:buNone/>
              <a:defRPr lang="en-US" sz="3000" b="0" kern="1200" cap="none" spc="-76" baseline="0" dirty="0" smtClean="0">
                <a:ln w="3175">
                  <a:noFill/>
                </a:ln>
                <a:solidFill>
                  <a:schemeClr val="tx2"/>
                </a:solidFill>
                <a:effectLst/>
                <a:latin typeface="+mj-lt"/>
                <a:ea typeface="+mn-ea"/>
                <a:cs typeface="Segoe UI" pitchFamily="34" charset="0"/>
              </a:defRPr>
            </a:lvl1pPr>
          </a:lstStyle>
          <a:p>
            <a:r>
              <a:rPr lang="en-US" dirty="0"/>
              <a:t>Categorical features are always better</a:t>
            </a:r>
          </a:p>
          <a:p>
            <a:r>
              <a:rPr lang="en-US" sz="2000" dirty="0"/>
              <a:t>the algorithm isn’t wasting time trying to determine if there are meaningful patterns to continuous numeric data</a:t>
            </a:r>
          </a:p>
          <a:p>
            <a:endParaRPr lang="en-US" dirty="0"/>
          </a:p>
          <a:p>
            <a:r>
              <a:rPr lang="en-US" dirty="0"/>
              <a:t>if possible:</a:t>
            </a:r>
          </a:p>
          <a:p>
            <a:pPr marL="457200" indent="-457200">
              <a:buFont typeface="Arial" charset="0"/>
              <a:buChar char="•"/>
            </a:pPr>
            <a:r>
              <a:rPr lang="en-US" dirty="0"/>
              <a:t>make a continuous variable a discrete variable</a:t>
            </a:r>
          </a:p>
          <a:p>
            <a:pPr marL="457200" indent="-457200">
              <a:buFont typeface="Arial" charset="0"/>
              <a:buChar char="•"/>
            </a:pPr>
            <a:r>
              <a:rPr lang="en-US" dirty="0"/>
              <a:t>then use “banding”</a:t>
            </a:r>
          </a:p>
          <a:p>
            <a:pPr marL="457200" indent="-457200">
              <a:buFont typeface="Arial" charset="0"/>
              <a:buChar char="•"/>
            </a:pPr>
            <a:r>
              <a:rPr lang="en-US" dirty="0"/>
              <a:t>then use one-hot encoding</a:t>
            </a:r>
          </a:p>
          <a:p>
            <a:pPr marL="457200" indent="-457200">
              <a:buFont typeface="Arial" charset="0"/>
              <a:buChar char="•"/>
            </a:pPr>
            <a:endParaRPr lang="en-US" dirty="0"/>
          </a:p>
          <a:p>
            <a:r>
              <a:rPr lang="en-US" dirty="0"/>
              <a:t>Regardless, when using a continuous variable, “squash” it with a sigmoid function.  </a:t>
            </a:r>
          </a:p>
          <a:p>
            <a:endParaRPr lang="en-US" dirty="0"/>
          </a:p>
          <a:p>
            <a:r>
              <a:rPr lang="en-US" dirty="0"/>
              <a:t>Why are we doing this?  </a:t>
            </a:r>
          </a:p>
          <a:p>
            <a:endParaRPr lang="en-US" dirty="0"/>
          </a:p>
        </p:txBody>
      </p:sp>
      <p:pic>
        <p:nvPicPr>
          <p:cNvPr id="2050" name="Picture 2" descr="Image result for sigmoid function">
            <a:extLst>
              <a:ext uri="{FF2B5EF4-FFF2-40B4-BE49-F238E27FC236}">
                <a16:creationId xmlns:a16="http://schemas.microsoft.com/office/drawing/2014/main" id="{95147009-DBAE-439B-86D8-8EB2331ABB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58681" y="4965700"/>
            <a:ext cx="3048000" cy="2028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13757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eature Generation</a:t>
            </a:r>
          </a:p>
        </p:txBody>
      </p:sp>
      <p:graphicFrame>
        <p:nvGraphicFramePr>
          <p:cNvPr id="3" name="Table 2"/>
          <p:cNvGraphicFramePr>
            <a:graphicFrameLocks noGrp="1"/>
          </p:cNvGraphicFramePr>
          <p:nvPr/>
        </p:nvGraphicFramePr>
        <p:xfrm>
          <a:off x="320251" y="1897198"/>
          <a:ext cx="2171515" cy="4114455"/>
        </p:xfrm>
        <a:graphic>
          <a:graphicData uri="http://schemas.openxmlformats.org/drawingml/2006/table">
            <a:tbl>
              <a:tblPr firstRow="1" bandRow="1">
                <a:tableStyleId>{5C22544A-7EE6-4342-B048-85BDC9FD1C3A}</a:tableStyleId>
              </a:tblPr>
              <a:tblGrid>
                <a:gridCol w="1354419">
                  <a:extLst>
                    <a:ext uri="{9D8B030D-6E8A-4147-A177-3AD203B41FA5}">
                      <a16:colId xmlns:a16="http://schemas.microsoft.com/office/drawing/2014/main" val="3557584650"/>
                    </a:ext>
                  </a:extLst>
                </a:gridCol>
                <a:gridCol w="817096">
                  <a:extLst>
                    <a:ext uri="{9D8B030D-6E8A-4147-A177-3AD203B41FA5}">
                      <a16:colId xmlns:a16="http://schemas.microsoft.com/office/drawing/2014/main" val="2894060003"/>
                    </a:ext>
                  </a:extLst>
                </a:gridCol>
              </a:tblGrid>
              <a:tr h="274297">
                <a:tc>
                  <a:txBody>
                    <a:bodyPr/>
                    <a:lstStyle/>
                    <a:p>
                      <a:pPr algn="ctr"/>
                      <a:r>
                        <a:rPr lang="en-US" sz="1000" dirty="0"/>
                        <a:t>Time Stamp</a:t>
                      </a:r>
                    </a:p>
                  </a:txBody>
                  <a:tcPr marL="68574" marR="68574" marT="34287" marB="34287"/>
                </a:tc>
                <a:tc>
                  <a:txBody>
                    <a:bodyPr/>
                    <a:lstStyle/>
                    <a:p>
                      <a:pPr algn="ctr"/>
                      <a:r>
                        <a:rPr lang="en-US" sz="1000" dirty="0"/>
                        <a:t>Sensor</a:t>
                      </a:r>
                    </a:p>
                  </a:txBody>
                  <a:tcPr marL="68574" marR="68574" marT="34287" marB="34287"/>
                </a:tc>
                <a:extLst>
                  <a:ext uri="{0D108BD9-81ED-4DB2-BD59-A6C34878D82A}">
                    <a16:rowId xmlns:a16="http://schemas.microsoft.com/office/drawing/2014/main" val="3713257210"/>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25</a:t>
                      </a:r>
                    </a:p>
                  </a:txBody>
                  <a:tcPr marL="4762" marR="4762" marT="4762" marB="0" anchor="b"/>
                </a:tc>
                <a:tc>
                  <a:txBody>
                    <a:bodyPr/>
                    <a:lstStyle/>
                    <a:p>
                      <a:pPr marL="0" algn="ctr" defTabSz="932742"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34</a:t>
                      </a:r>
                    </a:p>
                  </a:txBody>
                  <a:tcPr marL="68574" marR="68574" marT="34287" marB="34287"/>
                </a:tc>
                <a:extLst>
                  <a:ext uri="{0D108BD9-81ED-4DB2-BD59-A6C34878D82A}">
                    <a16:rowId xmlns:a16="http://schemas.microsoft.com/office/drawing/2014/main" val="357621283"/>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26</a:t>
                      </a:r>
                    </a:p>
                  </a:txBody>
                  <a:tcPr marL="4762" marR="4762" marT="4762" marB="0" anchor="b"/>
                </a:tc>
                <a:tc>
                  <a:txBody>
                    <a:bodyPr/>
                    <a:lstStyle/>
                    <a:p>
                      <a:pPr marL="0" algn="ctr" defTabSz="932742"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35</a:t>
                      </a:r>
                    </a:p>
                  </a:txBody>
                  <a:tcPr marL="68574" marR="68574" marT="34287" marB="34287"/>
                </a:tc>
                <a:extLst>
                  <a:ext uri="{0D108BD9-81ED-4DB2-BD59-A6C34878D82A}">
                    <a16:rowId xmlns:a16="http://schemas.microsoft.com/office/drawing/2014/main" val="2200571937"/>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27</a:t>
                      </a:r>
                    </a:p>
                  </a:txBody>
                  <a:tcPr marL="4762" marR="4762" marT="4762" marB="0" anchor="b"/>
                </a:tc>
                <a:tc>
                  <a:txBody>
                    <a:bodyPr/>
                    <a:lstStyle/>
                    <a:p>
                      <a:pPr marL="0" algn="ctr" defTabSz="932742"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32</a:t>
                      </a:r>
                    </a:p>
                  </a:txBody>
                  <a:tcPr marL="68574" marR="68574" marT="34287" marB="34287"/>
                </a:tc>
                <a:extLst>
                  <a:ext uri="{0D108BD9-81ED-4DB2-BD59-A6C34878D82A}">
                    <a16:rowId xmlns:a16="http://schemas.microsoft.com/office/drawing/2014/main" val="2110197590"/>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28</a:t>
                      </a:r>
                    </a:p>
                  </a:txBody>
                  <a:tcPr marL="4762" marR="4762" marT="4762" marB="0" anchor="b"/>
                </a:tc>
                <a:tc>
                  <a:txBody>
                    <a:bodyPr/>
                    <a:lstStyle/>
                    <a:p>
                      <a:pPr marL="0" algn="ctr" defTabSz="932742"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33</a:t>
                      </a:r>
                    </a:p>
                  </a:txBody>
                  <a:tcPr marL="68574" marR="68574" marT="34287" marB="34287"/>
                </a:tc>
                <a:extLst>
                  <a:ext uri="{0D108BD9-81ED-4DB2-BD59-A6C34878D82A}">
                    <a16:rowId xmlns:a16="http://schemas.microsoft.com/office/drawing/2014/main" val="4149394533"/>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29</a:t>
                      </a:r>
                    </a:p>
                  </a:txBody>
                  <a:tcPr marL="4762" marR="4762" marT="4762" marB="0" anchor="b"/>
                </a:tc>
                <a:tc>
                  <a:txBody>
                    <a:bodyPr/>
                    <a:lstStyle/>
                    <a:p>
                      <a:pPr marL="0" algn="ctr" defTabSz="932742" rtl="0" eaLnBrk="1" fontAlgn="b" latinLnBrk="0" hangingPunct="1"/>
                      <a:r>
                        <a:rPr lang="en-US" sz="1300" b="1" i="0" u="none" strike="noStrike" kern="1200" dirty="0">
                          <a:solidFill>
                            <a:srgbClr val="FF0000"/>
                          </a:solidFill>
                          <a:effectLst/>
                          <a:latin typeface="Calibri" panose="020F0502020204030204" pitchFamily="34" charset="0"/>
                          <a:ea typeface="+mn-ea"/>
                          <a:cs typeface="+mn-cs"/>
                        </a:rPr>
                        <a:t>25</a:t>
                      </a:r>
                    </a:p>
                  </a:txBody>
                  <a:tcPr marL="68574" marR="68574" marT="34287" marB="34287">
                    <a:solidFill>
                      <a:srgbClr val="FFC000"/>
                    </a:solidFill>
                  </a:tcPr>
                </a:tc>
                <a:extLst>
                  <a:ext uri="{0D108BD9-81ED-4DB2-BD59-A6C34878D82A}">
                    <a16:rowId xmlns:a16="http://schemas.microsoft.com/office/drawing/2014/main" val="54991258"/>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30</a:t>
                      </a:r>
                    </a:p>
                  </a:txBody>
                  <a:tcPr marL="4762" marR="4762" marT="4762" marB="0" anchor="b"/>
                </a:tc>
                <a:tc>
                  <a:txBody>
                    <a:bodyPr/>
                    <a:lstStyle/>
                    <a:p>
                      <a:pPr marL="0" algn="ctr" defTabSz="932742" rtl="0" eaLnBrk="1" fontAlgn="b" latinLnBrk="0" hangingPunct="1"/>
                      <a:r>
                        <a:rPr lang="en-US" sz="1300" b="1" i="0" u="none" strike="noStrike" kern="1200" dirty="0">
                          <a:solidFill>
                            <a:srgbClr val="FF0000"/>
                          </a:solidFill>
                          <a:effectLst/>
                          <a:latin typeface="Calibri" panose="020F0502020204030204" pitchFamily="34" charset="0"/>
                          <a:ea typeface="+mn-ea"/>
                          <a:cs typeface="+mn-cs"/>
                        </a:rPr>
                        <a:t>23</a:t>
                      </a:r>
                    </a:p>
                  </a:txBody>
                  <a:tcPr marL="68574" marR="68574" marT="34287" marB="34287">
                    <a:solidFill>
                      <a:srgbClr val="FFC000"/>
                    </a:solidFill>
                  </a:tcPr>
                </a:tc>
                <a:extLst>
                  <a:ext uri="{0D108BD9-81ED-4DB2-BD59-A6C34878D82A}">
                    <a16:rowId xmlns:a16="http://schemas.microsoft.com/office/drawing/2014/main" val="2518681391"/>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31</a:t>
                      </a:r>
                    </a:p>
                  </a:txBody>
                  <a:tcPr marL="4762" marR="4762" marT="4762" marB="0" anchor="b"/>
                </a:tc>
                <a:tc>
                  <a:txBody>
                    <a:bodyPr/>
                    <a:lstStyle/>
                    <a:p>
                      <a:pPr marL="0" algn="ctr" defTabSz="932742" rtl="0" eaLnBrk="1" fontAlgn="b" latinLnBrk="0" hangingPunct="1"/>
                      <a:r>
                        <a:rPr lang="en-US" sz="1300" b="1" i="0" u="none" strike="noStrike" kern="1200" dirty="0">
                          <a:solidFill>
                            <a:srgbClr val="FF0000"/>
                          </a:solidFill>
                          <a:effectLst/>
                          <a:latin typeface="Calibri" panose="020F0502020204030204" pitchFamily="34" charset="0"/>
                          <a:ea typeface="+mn-ea"/>
                          <a:cs typeface="+mn-cs"/>
                        </a:rPr>
                        <a:t>28</a:t>
                      </a:r>
                    </a:p>
                  </a:txBody>
                  <a:tcPr marL="68574" marR="68574" marT="34287" marB="34287">
                    <a:solidFill>
                      <a:srgbClr val="FFC000"/>
                    </a:solidFill>
                  </a:tcPr>
                </a:tc>
                <a:extLst>
                  <a:ext uri="{0D108BD9-81ED-4DB2-BD59-A6C34878D82A}">
                    <a16:rowId xmlns:a16="http://schemas.microsoft.com/office/drawing/2014/main" val="1369351111"/>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32</a:t>
                      </a:r>
                    </a:p>
                  </a:txBody>
                  <a:tcPr marL="4762" marR="4762" marT="4762" marB="0" anchor="b"/>
                </a:tc>
                <a:tc>
                  <a:txBody>
                    <a:bodyPr/>
                    <a:lstStyle/>
                    <a:p>
                      <a:pPr marL="0" algn="ctr" defTabSz="932742"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34</a:t>
                      </a:r>
                    </a:p>
                  </a:txBody>
                  <a:tcPr marL="68574" marR="68574" marT="34287" marB="34287"/>
                </a:tc>
                <a:extLst>
                  <a:ext uri="{0D108BD9-81ED-4DB2-BD59-A6C34878D82A}">
                    <a16:rowId xmlns:a16="http://schemas.microsoft.com/office/drawing/2014/main" val="1665125193"/>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33</a:t>
                      </a:r>
                    </a:p>
                  </a:txBody>
                  <a:tcPr marL="4762" marR="4762" marT="4762" marB="0" anchor="b"/>
                </a:tc>
                <a:tc>
                  <a:txBody>
                    <a:bodyPr/>
                    <a:lstStyle/>
                    <a:p>
                      <a:pPr marL="0" algn="ctr" defTabSz="932742"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35</a:t>
                      </a:r>
                    </a:p>
                  </a:txBody>
                  <a:tcPr marL="68574" marR="68574" marT="34287" marB="34287"/>
                </a:tc>
                <a:extLst>
                  <a:ext uri="{0D108BD9-81ED-4DB2-BD59-A6C34878D82A}">
                    <a16:rowId xmlns:a16="http://schemas.microsoft.com/office/drawing/2014/main" val="4012071273"/>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34</a:t>
                      </a:r>
                    </a:p>
                  </a:txBody>
                  <a:tcPr marL="4762" marR="4762" marT="4762" marB="0" anchor="b"/>
                </a:tc>
                <a:tc>
                  <a:txBody>
                    <a:bodyPr/>
                    <a:lstStyle/>
                    <a:p>
                      <a:pPr marL="0" algn="ctr" defTabSz="932742"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35</a:t>
                      </a:r>
                    </a:p>
                  </a:txBody>
                  <a:tcPr marL="68574" marR="68574" marT="34287" marB="34287"/>
                </a:tc>
                <a:extLst>
                  <a:ext uri="{0D108BD9-81ED-4DB2-BD59-A6C34878D82A}">
                    <a16:rowId xmlns:a16="http://schemas.microsoft.com/office/drawing/2014/main" val="3393385282"/>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35</a:t>
                      </a:r>
                    </a:p>
                  </a:txBody>
                  <a:tcPr marL="4762" marR="4762" marT="4762" marB="0" anchor="b"/>
                </a:tc>
                <a:tc>
                  <a:txBody>
                    <a:bodyPr/>
                    <a:lstStyle/>
                    <a:p>
                      <a:pPr marL="0" algn="ctr" defTabSz="932742"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34</a:t>
                      </a:r>
                    </a:p>
                  </a:txBody>
                  <a:tcPr marL="68574" marR="68574" marT="34287" marB="34287"/>
                </a:tc>
                <a:extLst>
                  <a:ext uri="{0D108BD9-81ED-4DB2-BD59-A6C34878D82A}">
                    <a16:rowId xmlns:a16="http://schemas.microsoft.com/office/drawing/2014/main" val="399971331"/>
                  </a:ext>
                </a:extLst>
              </a:tr>
              <a:tr h="274297">
                <a:tc>
                  <a:txBody>
                    <a:bodyPr/>
                    <a:lstStyle/>
                    <a:p>
                      <a:pPr algn="l" fontAlgn="b"/>
                      <a:r>
                        <a:rPr lang="en-US" sz="1300" b="0" i="0" u="none" strike="noStrike" dirty="0">
                          <a:solidFill>
                            <a:srgbClr val="000000"/>
                          </a:solidFill>
                          <a:effectLst/>
                          <a:latin typeface="Calibri" panose="020F0502020204030204" pitchFamily="34" charset="0"/>
                        </a:rPr>
                        <a:t>11/16/2016 13:36</a:t>
                      </a:r>
                    </a:p>
                  </a:txBody>
                  <a:tcPr marL="4762" marR="4762" marT="4762" marB="0" anchor="b"/>
                </a:tc>
                <a:tc>
                  <a:txBody>
                    <a:bodyPr/>
                    <a:lstStyle/>
                    <a:p>
                      <a:pPr marL="0" algn="ctr" defTabSz="932742"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34</a:t>
                      </a:r>
                    </a:p>
                  </a:txBody>
                  <a:tcPr marL="68574" marR="68574" marT="34287" marB="34287"/>
                </a:tc>
                <a:extLst>
                  <a:ext uri="{0D108BD9-81ED-4DB2-BD59-A6C34878D82A}">
                    <a16:rowId xmlns:a16="http://schemas.microsoft.com/office/drawing/2014/main" val="2915740685"/>
                  </a:ext>
                </a:extLst>
              </a:tr>
              <a:tr h="274297">
                <a:tc>
                  <a:txBody>
                    <a:bodyPr/>
                    <a:lstStyle/>
                    <a:p>
                      <a:pPr algn="l" fontAlgn="b"/>
                      <a:r>
                        <a:rPr lang="en-US" sz="1300" b="0" i="0" u="none" strike="noStrike" dirty="0">
                          <a:solidFill>
                            <a:srgbClr val="000000"/>
                          </a:solidFill>
                          <a:effectLst/>
                          <a:latin typeface="Calibri" panose="020F0502020204030204" pitchFamily="34" charset="0"/>
                        </a:rPr>
                        <a:t>…</a:t>
                      </a:r>
                    </a:p>
                  </a:txBody>
                  <a:tcPr marL="4762" marR="4762" marT="4762" marB="0" anchor="b"/>
                </a:tc>
                <a:tc>
                  <a:txBody>
                    <a:bodyPr/>
                    <a:lstStyle/>
                    <a:p>
                      <a:pPr marL="0" algn="ctr" defTabSz="932742"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a:t>
                      </a:r>
                    </a:p>
                  </a:txBody>
                  <a:tcPr marL="68574" marR="68574" marT="34287" marB="34287"/>
                </a:tc>
                <a:extLst>
                  <a:ext uri="{0D108BD9-81ED-4DB2-BD59-A6C34878D82A}">
                    <a16:rowId xmlns:a16="http://schemas.microsoft.com/office/drawing/2014/main" val="3964960882"/>
                  </a:ext>
                </a:extLst>
              </a:tr>
              <a:tr h="274297">
                <a:tc>
                  <a:txBody>
                    <a:bodyPr/>
                    <a:lstStyle/>
                    <a:p>
                      <a:pPr algn="l" fontAlgn="b"/>
                      <a:r>
                        <a:rPr lang="en-US" sz="1300" b="0" i="0" u="none" strike="noStrike" dirty="0">
                          <a:solidFill>
                            <a:srgbClr val="000000"/>
                          </a:solidFill>
                          <a:effectLst/>
                          <a:latin typeface="Calibri" panose="020F0502020204030204" pitchFamily="34" charset="0"/>
                        </a:rPr>
                        <a:t>11/18/2016 23:59</a:t>
                      </a:r>
                    </a:p>
                  </a:txBody>
                  <a:tcPr marL="4762" marR="4762" marT="4762" marB="0" anchor="b"/>
                </a:tc>
                <a:tc>
                  <a:txBody>
                    <a:bodyPr/>
                    <a:lstStyle/>
                    <a:p>
                      <a:pPr marL="0" algn="ctr" defTabSz="932742"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34</a:t>
                      </a:r>
                    </a:p>
                  </a:txBody>
                  <a:tcPr marL="68574" marR="68574" marT="34287" marB="34287"/>
                </a:tc>
                <a:extLst>
                  <a:ext uri="{0D108BD9-81ED-4DB2-BD59-A6C34878D82A}">
                    <a16:rowId xmlns:a16="http://schemas.microsoft.com/office/drawing/2014/main" val="3665598063"/>
                  </a:ext>
                </a:extLst>
              </a:tr>
            </a:tbl>
          </a:graphicData>
        </a:graphic>
      </p:graphicFrame>
      <p:sp>
        <p:nvSpPr>
          <p:cNvPr id="6" name="Right Brace 5"/>
          <p:cNvSpPr/>
          <p:nvPr/>
        </p:nvSpPr>
        <p:spPr>
          <a:xfrm>
            <a:off x="2548911" y="2240069"/>
            <a:ext cx="171435" cy="628597"/>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709">
              <a:defRPr/>
            </a:pPr>
            <a:endParaRPr lang="en-US" sz="1350" kern="0">
              <a:solidFill>
                <a:sysClr val="windowText" lastClr="000000"/>
              </a:solidFill>
              <a:latin typeface="Segoe UI Semilight"/>
            </a:endParaRPr>
          </a:p>
        </p:txBody>
      </p:sp>
      <p:sp>
        <p:nvSpPr>
          <p:cNvPr id="8" name="AutoShape 3"/>
          <p:cNvSpPr>
            <a:spLocks noChangeAspect="1" noChangeArrowheads="1" noTextEdit="1"/>
          </p:cNvSpPr>
          <p:nvPr/>
        </p:nvSpPr>
        <p:spPr bwMode="auto">
          <a:xfrm>
            <a:off x="3520379" y="1868626"/>
            <a:ext cx="5543078" cy="4251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2" name="Rectangle 5"/>
          <p:cNvSpPr>
            <a:spLocks noChangeArrowheads="1"/>
          </p:cNvSpPr>
          <p:nvPr/>
        </p:nvSpPr>
        <p:spPr bwMode="auto">
          <a:xfrm>
            <a:off x="3525142" y="1884103"/>
            <a:ext cx="1431009" cy="276201"/>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3" name="Rectangle 6"/>
          <p:cNvSpPr>
            <a:spLocks noChangeArrowheads="1"/>
          </p:cNvSpPr>
          <p:nvPr/>
        </p:nvSpPr>
        <p:spPr bwMode="auto">
          <a:xfrm>
            <a:off x="4956151" y="1884103"/>
            <a:ext cx="745268" cy="276201"/>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4" name="Rectangle 7"/>
          <p:cNvSpPr>
            <a:spLocks noChangeArrowheads="1"/>
          </p:cNvSpPr>
          <p:nvPr/>
        </p:nvSpPr>
        <p:spPr bwMode="auto">
          <a:xfrm>
            <a:off x="5701419" y="1884103"/>
            <a:ext cx="726219" cy="276201"/>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5" name="Rectangle 8"/>
          <p:cNvSpPr>
            <a:spLocks noChangeArrowheads="1"/>
          </p:cNvSpPr>
          <p:nvPr/>
        </p:nvSpPr>
        <p:spPr bwMode="auto">
          <a:xfrm>
            <a:off x="6427638" y="1884103"/>
            <a:ext cx="719076" cy="276201"/>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6" name="Rectangle 9"/>
          <p:cNvSpPr>
            <a:spLocks noChangeArrowheads="1"/>
          </p:cNvSpPr>
          <p:nvPr/>
        </p:nvSpPr>
        <p:spPr bwMode="auto">
          <a:xfrm>
            <a:off x="7146714" y="1884103"/>
            <a:ext cx="690504" cy="276201"/>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7" name="Rectangle 10"/>
          <p:cNvSpPr>
            <a:spLocks noChangeArrowheads="1"/>
          </p:cNvSpPr>
          <p:nvPr/>
        </p:nvSpPr>
        <p:spPr bwMode="auto">
          <a:xfrm>
            <a:off x="7837218" y="1884103"/>
            <a:ext cx="1207191" cy="276201"/>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8" name="Rectangle 11"/>
          <p:cNvSpPr>
            <a:spLocks noChangeArrowheads="1"/>
          </p:cNvSpPr>
          <p:nvPr/>
        </p:nvSpPr>
        <p:spPr bwMode="auto">
          <a:xfrm>
            <a:off x="3525142" y="2160304"/>
            <a:ext cx="1431009"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9" name="Rectangle 12"/>
          <p:cNvSpPr>
            <a:spLocks noChangeArrowheads="1"/>
          </p:cNvSpPr>
          <p:nvPr/>
        </p:nvSpPr>
        <p:spPr bwMode="auto">
          <a:xfrm>
            <a:off x="4956151" y="2160304"/>
            <a:ext cx="745268"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20" name="Rectangle 13"/>
          <p:cNvSpPr>
            <a:spLocks noChangeArrowheads="1"/>
          </p:cNvSpPr>
          <p:nvPr/>
        </p:nvSpPr>
        <p:spPr bwMode="auto">
          <a:xfrm>
            <a:off x="5701419" y="2160304"/>
            <a:ext cx="726219"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21" name="Rectangle 14"/>
          <p:cNvSpPr>
            <a:spLocks noChangeArrowheads="1"/>
          </p:cNvSpPr>
          <p:nvPr/>
        </p:nvSpPr>
        <p:spPr bwMode="auto">
          <a:xfrm>
            <a:off x="6427638" y="2160304"/>
            <a:ext cx="719076"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22" name="Rectangle 15"/>
          <p:cNvSpPr>
            <a:spLocks noChangeArrowheads="1"/>
          </p:cNvSpPr>
          <p:nvPr/>
        </p:nvSpPr>
        <p:spPr bwMode="auto">
          <a:xfrm>
            <a:off x="7146714" y="2160304"/>
            <a:ext cx="690504"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23" name="Rectangle 16"/>
          <p:cNvSpPr>
            <a:spLocks noChangeArrowheads="1"/>
          </p:cNvSpPr>
          <p:nvPr/>
        </p:nvSpPr>
        <p:spPr bwMode="auto">
          <a:xfrm>
            <a:off x="7837218" y="2160304"/>
            <a:ext cx="1207191"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24" name="Rectangle 17"/>
          <p:cNvSpPr>
            <a:spLocks noChangeArrowheads="1"/>
          </p:cNvSpPr>
          <p:nvPr/>
        </p:nvSpPr>
        <p:spPr bwMode="auto">
          <a:xfrm>
            <a:off x="3525142" y="2435315"/>
            <a:ext cx="1431009"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25" name="Rectangle 18"/>
          <p:cNvSpPr>
            <a:spLocks noChangeArrowheads="1"/>
          </p:cNvSpPr>
          <p:nvPr/>
        </p:nvSpPr>
        <p:spPr bwMode="auto">
          <a:xfrm>
            <a:off x="4956151" y="2435315"/>
            <a:ext cx="745268"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26" name="Rectangle 19"/>
          <p:cNvSpPr>
            <a:spLocks noChangeArrowheads="1"/>
          </p:cNvSpPr>
          <p:nvPr/>
        </p:nvSpPr>
        <p:spPr bwMode="auto">
          <a:xfrm>
            <a:off x="5701419" y="2435315"/>
            <a:ext cx="726219"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27" name="Rectangle 20"/>
          <p:cNvSpPr>
            <a:spLocks noChangeArrowheads="1"/>
          </p:cNvSpPr>
          <p:nvPr/>
        </p:nvSpPr>
        <p:spPr bwMode="auto">
          <a:xfrm>
            <a:off x="6427638" y="2435315"/>
            <a:ext cx="719076"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28" name="Rectangle 21"/>
          <p:cNvSpPr>
            <a:spLocks noChangeArrowheads="1"/>
          </p:cNvSpPr>
          <p:nvPr/>
        </p:nvSpPr>
        <p:spPr bwMode="auto">
          <a:xfrm>
            <a:off x="7146714" y="2435315"/>
            <a:ext cx="690504"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29" name="Rectangle 22"/>
          <p:cNvSpPr>
            <a:spLocks noChangeArrowheads="1"/>
          </p:cNvSpPr>
          <p:nvPr/>
        </p:nvSpPr>
        <p:spPr bwMode="auto">
          <a:xfrm>
            <a:off x="7837218" y="2435315"/>
            <a:ext cx="1207191"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30" name="Rectangle 23"/>
          <p:cNvSpPr>
            <a:spLocks noChangeArrowheads="1"/>
          </p:cNvSpPr>
          <p:nvPr/>
        </p:nvSpPr>
        <p:spPr bwMode="auto">
          <a:xfrm>
            <a:off x="3525142" y="2710326"/>
            <a:ext cx="1431009"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31" name="Rectangle 24"/>
          <p:cNvSpPr>
            <a:spLocks noChangeArrowheads="1"/>
          </p:cNvSpPr>
          <p:nvPr/>
        </p:nvSpPr>
        <p:spPr bwMode="auto">
          <a:xfrm>
            <a:off x="4956151" y="2710326"/>
            <a:ext cx="745268"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32" name="Rectangle 25"/>
          <p:cNvSpPr>
            <a:spLocks noChangeArrowheads="1"/>
          </p:cNvSpPr>
          <p:nvPr/>
        </p:nvSpPr>
        <p:spPr bwMode="auto">
          <a:xfrm>
            <a:off x="5701419" y="2710326"/>
            <a:ext cx="726219"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33" name="Rectangle 26"/>
          <p:cNvSpPr>
            <a:spLocks noChangeArrowheads="1"/>
          </p:cNvSpPr>
          <p:nvPr/>
        </p:nvSpPr>
        <p:spPr bwMode="auto">
          <a:xfrm>
            <a:off x="6427638" y="2710326"/>
            <a:ext cx="719076"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34" name="Rectangle 27"/>
          <p:cNvSpPr>
            <a:spLocks noChangeArrowheads="1"/>
          </p:cNvSpPr>
          <p:nvPr/>
        </p:nvSpPr>
        <p:spPr bwMode="auto">
          <a:xfrm>
            <a:off x="7146714" y="2710326"/>
            <a:ext cx="690504"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35" name="Rectangle 28"/>
          <p:cNvSpPr>
            <a:spLocks noChangeArrowheads="1"/>
          </p:cNvSpPr>
          <p:nvPr/>
        </p:nvSpPr>
        <p:spPr bwMode="auto">
          <a:xfrm>
            <a:off x="7837218" y="2710326"/>
            <a:ext cx="1207191"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36" name="Rectangle 29"/>
          <p:cNvSpPr>
            <a:spLocks noChangeArrowheads="1"/>
          </p:cNvSpPr>
          <p:nvPr/>
        </p:nvSpPr>
        <p:spPr bwMode="auto">
          <a:xfrm>
            <a:off x="3525142" y="2986528"/>
            <a:ext cx="1431009"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37" name="Rectangle 30"/>
          <p:cNvSpPr>
            <a:spLocks noChangeArrowheads="1"/>
          </p:cNvSpPr>
          <p:nvPr/>
        </p:nvSpPr>
        <p:spPr bwMode="auto">
          <a:xfrm>
            <a:off x="4956151" y="2986528"/>
            <a:ext cx="745268"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38" name="Rectangle 31"/>
          <p:cNvSpPr>
            <a:spLocks noChangeArrowheads="1"/>
          </p:cNvSpPr>
          <p:nvPr/>
        </p:nvSpPr>
        <p:spPr bwMode="auto">
          <a:xfrm>
            <a:off x="5701419" y="2986528"/>
            <a:ext cx="726219"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39" name="Rectangle 32"/>
          <p:cNvSpPr>
            <a:spLocks noChangeArrowheads="1"/>
          </p:cNvSpPr>
          <p:nvPr/>
        </p:nvSpPr>
        <p:spPr bwMode="auto">
          <a:xfrm>
            <a:off x="6427638" y="2986528"/>
            <a:ext cx="719076"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40" name="Rectangle 33"/>
          <p:cNvSpPr>
            <a:spLocks noChangeArrowheads="1"/>
          </p:cNvSpPr>
          <p:nvPr/>
        </p:nvSpPr>
        <p:spPr bwMode="auto">
          <a:xfrm>
            <a:off x="7146714" y="2986528"/>
            <a:ext cx="690504"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41" name="Rectangle 34"/>
          <p:cNvSpPr>
            <a:spLocks noChangeArrowheads="1"/>
          </p:cNvSpPr>
          <p:nvPr/>
        </p:nvSpPr>
        <p:spPr bwMode="auto">
          <a:xfrm>
            <a:off x="7837218" y="2986528"/>
            <a:ext cx="1207191"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42" name="Rectangle 35"/>
          <p:cNvSpPr>
            <a:spLocks noChangeArrowheads="1"/>
          </p:cNvSpPr>
          <p:nvPr/>
        </p:nvSpPr>
        <p:spPr bwMode="auto">
          <a:xfrm>
            <a:off x="3525142" y="3261538"/>
            <a:ext cx="1431009"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43" name="Rectangle 36"/>
          <p:cNvSpPr>
            <a:spLocks noChangeArrowheads="1"/>
          </p:cNvSpPr>
          <p:nvPr/>
        </p:nvSpPr>
        <p:spPr bwMode="auto">
          <a:xfrm>
            <a:off x="4956151" y="3261538"/>
            <a:ext cx="745268"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44" name="Rectangle 37"/>
          <p:cNvSpPr>
            <a:spLocks noChangeArrowheads="1"/>
          </p:cNvSpPr>
          <p:nvPr/>
        </p:nvSpPr>
        <p:spPr bwMode="auto">
          <a:xfrm>
            <a:off x="5701419" y="3261538"/>
            <a:ext cx="726219"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45" name="Rectangle 38"/>
          <p:cNvSpPr>
            <a:spLocks noChangeArrowheads="1"/>
          </p:cNvSpPr>
          <p:nvPr/>
        </p:nvSpPr>
        <p:spPr bwMode="auto">
          <a:xfrm>
            <a:off x="6427638" y="3261538"/>
            <a:ext cx="719076"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46" name="Rectangle 39"/>
          <p:cNvSpPr>
            <a:spLocks noChangeArrowheads="1"/>
          </p:cNvSpPr>
          <p:nvPr/>
        </p:nvSpPr>
        <p:spPr bwMode="auto">
          <a:xfrm>
            <a:off x="7146714" y="3261538"/>
            <a:ext cx="690504"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47" name="Rectangle 40"/>
          <p:cNvSpPr>
            <a:spLocks noChangeArrowheads="1"/>
          </p:cNvSpPr>
          <p:nvPr/>
        </p:nvSpPr>
        <p:spPr bwMode="auto">
          <a:xfrm>
            <a:off x="7837218" y="3261538"/>
            <a:ext cx="1207191"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48" name="Rectangle 41"/>
          <p:cNvSpPr>
            <a:spLocks noChangeArrowheads="1"/>
          </p:cNvSpPr>
          <p:nvPr/>
        </p:nvSpPr>
        <p:spPr bwMode="auto">
          <a:xfrm>
            <a:off x="3525142" y="3536550"/>
            <a:ext cx="1431009"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49" name="Rectangle 42"/>
          <p:cNvSpPr>
            <a:spLocks noChangeArrowheads="1"/>
          </p:cNvSpPr>
          <p:nvPr/>
        </p:nvSpPr>
        <p:spPr bwMode="auto">
          <a:xfrm>
            <a:off x="4956151" y="3536550"/>
            <a:ext cx="745268"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50" name="Rectangle 43"/>
          <p:cNvSpPr>
            <a:spLocks noChangeArrowheads="1"/>
          </p:cNvSpPr>
          <p:nvPr/>
        </p:nvSpPr>
        <p:spPr bwMode="auto">
          <a:xfrm>
            <a:off x="5701419" y="3536550"/>
            <a:ext cx="726219"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51" name="Rectangle 44"/>
          <p:cNvSpPr>
            <a:spLocks noChangeArrowheads="1"/>
          </p:cNvSpPr>
          <p:nvPr/>
        </p:nvSpPr>
        <p:spPr bwMode="auto">
          <a:xfrm>
            <a:off x="6427638" y="3536550"/>
            <a:ext cx="719076"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52" name="Rectangle 45"/>
          <p:cNvSpPr>
            <a:spLocks noChangeArrowheads="1"/>
          </p:cNvSpPr>
          <p:nvPr/>
        </p:nvSpPr>
        <p:spPr bwMode="auto">
          <a:xfrm>
            <a:off x="7146714" y="3536550"/>
            <a:ext cx="690504"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53" name="Rectangle 46"/>
          <p:cNvSpPr>
            <a:spLocks noChangeArrowheads="1"/>
          </p:cNvSpPr>
          <p:nvPr/>
        </p:nvSpPr>
        <p:spPr bwMode="auto">
          <a:xfrm>
            <a:off x="7837218" y="3536550"/>
            <a:ext cx="1207191"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54" name="Rectangle 47"/>
          <p:cNvSpPr>
            <a:spLocks noChangeArrowheads="1"/>
          </p:cNvSpPr>
          <p:nvPr/>
        </p:nvSpPr>
        <p:spPr bwMode="auto">
          <a:xfrm>
            <a:off x="3525142" y="3812751"/>
            <a:ext cx="1431009"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55" name="Rectangle 48"/>
          <p:cNvSpPr>
            <a:spLocks noChangeArrowheads="1"/>
          </p:cNvSpPr>
          <p:nvPr/>
        </p:nvSpPr>
        <p:spPr bwMode="auto">
          <a:xfrm>
            <a:off x="4956151" y="3812751"/>
            <a:ext cx="745268"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56" name="Rectangle 49"/>
          <p:cNvSpPr>
            <a:spLocks noChangeArrowheads="1"/>
          </p:cNvSpPr>
          <p:nvPr/>
        </p:nvSpPr>
        <p:spPr bwMode="auto">
          <a:xfrm>
            <a:off x="5701419" y="3812751"/>
            <a:ext cx="726219"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57" name="Rectangle 50"/>
          <p:cNvSpPr>
            <a:spLocks noChangeArrowheads="1"/>
          </p:cNvSpPr>
          <p:nvPr/>
        </p:nvSpPr>
        <p:spPr bwMode="auto">
          <a:xfrm>
            <a:off x="6427638" y="3812751"/>
            <a:ext cx="719076"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58" name="Rectangle 51"/>
          <p:cNvSpPr>
            <a:spLocks noChangeArrowheads="1"/>
          </p:cNvSpPr>
          <p:nvPr/>
        </p:nvSpPr>
        <p:spPr bwMode="auto">
          <a:xfrm>
            <a:off x="7146714" y="3812751"/>
            <a:ext cx="690504"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59" name="Rectangle 52"/>
          <p:cNvSpPr>
            <a:spLocks noChangeArrowheads="1"/>
          </p:cNvSpPr>
          <p:nvPr/>
        </p:nvSpPr>
        <p:spPr bwMode="auto">
          <a:xfrm>
            <a:off x="7837218" y="3812751"/>
            <a:ext cx="1207191"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60" name="Rectangle 53"/>
          <p:cNvSpPr>
            <a:spLocks noChangeArrowheads="1"/>
          </p:cNvSpPr>
          <p:nvPr/>
        </p:nvSpPr>
        <p:spPr bwMode="auto">
          <a:xfrm>
            <a:off x="3525142" y="4087762"/>
            <a:ext cx="1431009"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61" name="Rectangle 54"/>
          <p:cNvSpPr>
            <a:spLocks noChangeArrowheads="1"/>
          </p:cNvSpPr>
          <p:nvPr/>
        </p:nvSpPr>
        <p:spPr bwMode="auto">
          <a:xfrm>
            <a:off x="4956151" y="4087762"/>
            <a:ext cx="745268"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62" name="Rectangle 55"/>
          <p:cNvSpPr>
            <a:spLocks noChangeArrowheads="1"/>
          </p:cNvSpPr>
          <p:nvPr/>
        </p:nvSpPr>
        <p:spPr bwMode="auto">
          <a:xfrm>
            <a:off x="5701419" y="4087762"/>
            <a:ext cx="726219"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63" name="Rectangle 56"/>
          <p:cNvSpPr>
            <a:spLocks noChangeArrowheads="1"/>
          </p:cNvSpPr>
          <p:nvPr/>
        </p:nvSpPr>
        <p:spPr bwMode="auto">
          <a:xfrm>
            <a:off x="6427638" y="4087762"/>
            <a:ext cx="719076"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64" name="Rectangle 57"/>
          <p:cNvSpPr>
            <a:spLocks noChangeArrowheads="1"/>
          </p:cNvSpPr>
          <p:nvPr/>
        </p:nvSpPr>
        <p:spPr bwMode="auto">
          <a:xfrm>
            <a:off x="7146714" y="4087762"/>
            <a:ext cx="690504"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65" name="Rectangle 58"/>
          <p:cNvSpPr>
            <a:spLocks noChangeArrowheads="1"/>
          </p:cNvSpPr>
          <p:nvPr/>
        </p:nvSpPr>
        <p:spPr bwMode="auto">
          <a:xfrm>
            <a:off x="7837218" y="4087762"/>
            <a:ext cx="1207191" cy="27620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66" name="Rectangle 59"/>
          <p:cNvSpPr>
            <a:spLocks noChangeArrowheads="1"/>
          </p:cNvSpPr>
          <p:nvPr/>
        </p:nvSpPr>
        <p:spPr bwMode="auto">
          <a:xfrm>
            <a:off x="3525142" y="4363963"/>
            <a:ext cx="1431009"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67" name="Rectangle 60"/>
          <p:cNvSpPr>
            <a:spLocks noChangeArrowheads="1"/>
          </p:cNvSpPr>
          <p:nvPr/>
        </p:nvSpPr>
        <p:spPr bwMode="auto">
          <a:xfrm>
            <a:off x="4956151" y="4363963"/>
            <a:ext cx="745268"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68" name="Rectangle 61"/>
          <p:cNvSpPr>
            <a:spLocks noChangeArrowheads="1"/>
          </p:cNvSpPr>
          <p:nvPr/>
        </p:nvSpPr>
        <p:spPr bwMode="auto">
          <a:xfrm>
            <a:off x="5701419" y="4363963"/>
            <a:ext cx="726219"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69" name="Rectangle 62"/>
          <p:cNvSpPr>
            <a:spLocks noChangeArrowheads="1"/>
          </p:cNvSpPr>
          <p:nvPr/>
        </p:nvSpPr>
        <p:spPr bwMode="auto">
          <a:xfrm>
            <a:off x="6427638" y="4363963"/>
            <a:ext cx="719076"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70" name="Rectangle 63"/>
          <p:cNvSpPr>
            <a:spLocks noChangeArrowheads="1"/>
          </p:cNvSpPr>
          <p:nvPr/>
        </p:nvSpPr>
        <p:spPr bwMode="auto">
          <a:xfrm>
            <a:off x="7146714" y="4363963"/>
            <a:ext cx="690504"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71" name="Rectangle 64"/>
          <p:cNvSpPr>
            <a:spLocks noChangeArrowheads="1"/>
          </p:cNvSpPr>
          <p:nvPr/>
        </p:nvSpPr>
        <p:spPr bwMode="auto">
          <a:xfrm>
            <a:off x="7837218" y="4363963"/>
            <a:ext cx="1207191" cy="27501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72" name="Rectangle 65"/>
          <p:cNvSpPr>
            <a:spLocks noChangeArrowheads="1"/>
          </p:cNvSpPr>
          <p:nvPr/>
        </p:nvSpPr>
        <p:spPr bwMode="auto">
          <a:xfrm>
            <a:off x="3525142" y="4638974"/>
            <a:ext cx="1431009"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73" name="Rectangle 66"/>
          <p:cNvSpPr>
            <a:spLocks noChangeArrowheads="1"/>
          </p:cNvSpPr>
          <p:nvPr/>
        </p:nvSpPr>
        <p:spPr bwMode="auto">
          <a:xfrm>
            <a:off x="4956151" y="4638974"/>
            <a:ext cx="745268"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74" name="Rectangle 67"/>
          <p:cNvSpPr>
            <a:spLocks noChangeArrowheads="1"/>
          </p:cNvSpPr>
          <p:nvPr/>
        </p:nvSpPr>
        <p:spPr bwMode="auto">
          <a:xfrm>
            <a:off x="5701419" y="4638974"/>
            <a:ext cx="726219"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75" name="Rectangle 68"/>
          <p:cNvSpPr>
            <a:spLocks noChangeArrowheads="1"/>
          </p:cNvSpPr>
          <p:nvPr/>
        </p:nvSpPr>
        <p:spPr bwMode="auto">
          <a:xfrm>
            <a:off x="6427638" y="4638974"/>
            <a:ext cx="719076"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76" name="Rectangle 69"/>
          <p:cNvSpPr>
            <a:spLocks noChangeArrowheads="1"/>
          </p:cNvSpPr>
          <p:nvPr/>
        </p:nvSpPr>
        <p:spPr bwMode="auto">
          <a:xfrm>
            <a:off x="7146714" y="4638974"/>
            <a:ext cx="690504"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77" name="Rectangle 70"/>
          <p:cNvSpPr>
            <a:spLocks noChangeArrowheads="1"/>
          </p:cNvSpPr>
          <p:nvPr/>
        </p:nvSpPr>
        <p:spPr bwMode="auto">
          <a:xfrm>
            <a:off x="7837218" y="4638974"/>
            <a:ext cx="1207191"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78" name="Rectangle 71"/>
          <p:cNvSpPr>
            <a:spLocks noChangeArrowheads="1"/>
          </p:cNvSpPr>
          <p:nvPr/>
        </p:nvSpPr>
        <p:spPr bwMode="auto">
          <a:xfrm>
            <a:off x="3525142" y="4913985"/>
            <a:ext cx="1431009"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79" name="Rectangle 72"/>
          <p:cNvSpPr>
            <a:spLocks noChangeArrowheads="1"/>
          </p:cNvSpPr>
          <p:nvPr/>
        </p:nvSpPr>
        <p:spPr bwMode="auto">
          <a:xfrm>
            <a:off x="4956151" y="4913985"/>
            <a:ext cx="745268"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80" name="Rectangle 73"/>
          <p:cNvSpPr>
            <a:spLocks noChangeArrowheads="1"/>
          </p:cNvSpPr>
          <p:nvPr/>
        </p:nvSpPr>
        <p:spPr bwMode="auto">
          <a:xfrm>
            <a:off x="5701419" y="4913985"/>
            <a:ext cx="726219"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81" name="Rectangle 74"/>
          <p:cNvSpPr>
            <a:spLocks noChangeArrowheads="1"/>
          </p:cNvSpPr>
          <p:nvPr/>
        </p:nvSpPr>
        <p:spPr bwMode="auto">
          <a:xfrm>
            <a:off x="6427638" y="4913985"/>
            <a:ext cx="719076"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82" name="Rectangle 75"/>
          <p:cNvSpPr>
            <a:spLocks noChangeArrowheads="1"/>
          </p:cNvSpPr>
          <p:nvPr/>
        </p:nvSpPr>
        <p:spPr bwMode="auto">
          <a:xfrm>
            <a:off x="7146714" y="4913985"/>
            <a:ext cx="690504"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83" name="Rectangle 76"/>
          <p:cNvSpPr>
            <a:spLocks noChangeArrowheads="1"/>
          </p:cNvSpPr>
          <p:nvPr/>
        </p:nvSpPr>
        <p:spPr bwMode="auto">
          <a:xfrm>
            <a:off x="7837218" y="4913985"/>
            <a:ext cx="1207191"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84" name="Rectangle 77"/>
          <p:cNvSpPr>
            <a:spLocks noChangeArrowheads="1"/>
          </p:cNvSpPr>
          <p:nvPr/>
        </p:nvSpPr>
        <p:spPr bwMode="auto">
          <a:xfrm>
            <a:off x="3525142" y="5190186"/>
            <a:ext cx="1431009"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85" name="Rectangle 78"/>
          <p:cNvSpPr>
            <a:spLocks noChangeArrowheads="1"/>
          </p:cNvSpPr>
          <p:nvPr/>
        </p:nvSpPr>
        <p:spPr bwMode="auto">
          <a:xfrm>
            <a:off x="4956151" y="5190186"/>
            <a:ext cx="745268"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86" name="Rectangle 79"/>
          <p:cNvSpPr>
            <a:spLocks noChangeArrowheads="1"/>
          </p:cNvSpPr>
          <p:nvPr/>
        </p:nvSpPr>
        <p:spPr bwMode="auto">
          <a:xfrm>
            <a:off x="5701419" y="5190186"/>
            <a:ext cx="726219"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87" name="Rectangle 80"/>
          <p:cNvSpPr>
            <a:spLocks noChangeArrowheads="1"/>
          </p:cNvSpPr>
          <p:nvPr/>
        </p:nvSpPr>
        <p:spPr bwMode="auto">
          <a:xfrm>
            <a:off x="6427638" y="5190186"/>
            <a:ext cx="719076"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88" name="Rectangle 81"/>
          <p:cNvSpPr>
            <a:spLocks noChangeArrowheads="1"/>
          </p:cNvSpPr>
          <p:nvPr/>
        </p:nvSpPr>
        <p:spPr bwMode="auto">
          <a:xfrm>
            <a:off x="7146714" y="5190186"/>
            <a:ext cx="690504"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89" name="Rectangle 82"/>
          <p:cNvSpPr>
            <a:spLocks noChangeArrowheads="1"/>
          </p:cNvSpPr>
          <p:nvPr/>
        </p:nvSpPr>
        <p:spPr bwMode="auto">
          <a:xfrm>
            <a:off x="7837218" y="5190186"/>
            <a:ext cx="1207191"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90" name="Rectangle 83"/>
          <p:cNvSpPr>
            <a:spLocks noChangeArrowheads="1"/>
          </p:cNvSpPr>
          <p:nvPr/>
        </p:nvSpPr>
        <p:spPr bwMode="auto">
          <a:xfrm>
            <a:off x="3525142" y="5465198"/>
            <a:ext cx="1431009"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91" name="Rectangle 84"/>
          <p:cNvSpPr>
            <a:spLocks noChangeArrowheads="1"/>
          </p:cNvSpPr>
          <p:nvPr/>
        </p:nvSpPr>
        <p:spPr bwMode="auto">
          <a:xfrm>
            <a:off x="4956151" y="5465198"/>
            <a:ext cx="745268"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92" name="Rectangle 85"/>
          <p:cNvSpPr>
            <a:spLocks noChangeArrowheads="1"/>
          </p:cNvSpPr>
          <p:nvPr/>
        </p:nvSpPr>
        <p:spPr bwMode="auto">
          <a:xfrm>
            <a:off x="5701419" y="5465198"/>
            <a:ext cx="726219"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93" name="Rectangle 86"/>
          <p:cNvSpPr>
            <a:spLocks noChangeArrowheads="1"/>
          </p:cNvSpPr>
          <p:nvPr/>
        </p:nvSpPr>
        <p:spPr bwMode="auto">
          <a:xfrm>
            <a:off x="6427638" y="5465198"/>
            <a:ext cx="719076"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94" name="Rectangle 87"/>
          <p:cNvSpPr>
            <a:spLocks noChangeArrowheads="1"/>
          </p:cNvSpPr>
          <p:nvPr/>
        </p:nvSpPr>
        <p:spPr bwMode="auto">
          <a:xfrm>
            <a:off x="7146714" y="5465198"/>
            <a:ext cx="690504"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95" name="Rectangle 88"/>
          <p:cNvSpPr>
            <a:spLocks noChangeArrowheads="1"/>
          </p:cNvSpPr>
          <p:nvPr/>
        </p:nvSpPr>
        <p:spPr bwMode="auto">
          <a:xfrm>
            <a:off x="7837218" y="5465198"/>
            <a:ext cx="1207191" cy="276201"/>
          </a:xfrm>
          <a:prstGeom prst="rect">
            <a:avLst/>
          </a:prstGeom>
          <a:solidFill>
            <a:srgbClr val="E1C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96" name="Rectangle 89"/>
          <p:cNvSpPr>
            <a:spLocks noChangeArrowheads="1"/>
          </p:cNvSpPr>
          <p:nvPr/>
        </p:nvSpPr>
        <p:spPr bwMode="auto">
          <a:xfrm>
            <a:off x="3525142" y="5741399"/>
            <a:ext cx="1431009"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97" name="Rectangle 90"/>
          <p:cNvSpPr>
            <a:spLocks noChangeArrowheads="1"/>
          </p:cNvSpPr>
          <p:nvPr/>
        </p:nvSpPr>
        <p:spPr bwMode="auto">
          <a:xfrm>
            <a:off x="4956151" y="5741399"/>
            <a:ext cx="745268"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98" name="Rectangle 91"/>
          <p:cNvSpPr>
            <a:spLocks noChangeArrowheads="1"/>
          </p:cNvSpPr>
          <p:nvPr/>
        </p:nvSpPr>
        <p:spPr bwMode="auto">
          <a:xfrm>
            <a:off x="5701419" y="5741399"/>
            <a:ext cx="726219"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99" name="Rectangle 92"/>
          <p:cNvSpPr>
            <a:spLocks noChangeArrowheads="1"/>
          </p:cNvSpPr>
          <p:nvPr/>
        </p:nvSpPr>
        <p:spPr bwMode="auto">
          <a:xfrm>
            <a:off x="6427638" y="5741399"/>
            <a:ext cx="719076"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00" name="Rectangle 93"/>
          <p:cNvSpPr>
            <a:spLocks noChangeArrowheads="1"/>
          </p:cNvSpPr>
          <p:nvPr/>
        </p:nvSpPr>
        <p:spPr bwMode="auto">
          <a:xfrm>
            <a:off x="7146714" y="5741399"/>
            <a:ext cx="690504"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01" name="Rectangle 94"/>
          <p:cNvSpPr>
            <a:spLocks noChangeArrowheads="1"/>
          </p:cNvSpPr>
          <p:nvPr/>
        </p:nvSpPr>
        <p:spPr bwMode="auto">
          <a:xfrm>
            <a:off x="7837218" y="5741399"/>
            <a:ext cx="1207191" cy="275011"/>
          </a:xfrm>
          <a:prstGeom prst="rect">
            <a:avLst/>
          </a:prstGeom>
          <a:solidFill>
            <a:srgbClr val="F1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02" name="Line 95"/>
          <p:cNvSpPr>
            <a:spLocks noChangeShapeType="1"/>
          </p:cNvSpPr>
          <p:nvPr/>
        </p:nvSpPr>
        <p:spPr bwMode="auto">
          <a:xfrm>
            <a:off x="4956151" y="1879340"/>
            <a:ext cx="0" cy="4141832"/>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03" name="Line 96"/>
          <p:cNvSpPr>
            <a:spLocks noChangeShapeType="1"/>
          </p:cNvSpPr>
          <p:nvPr/>
        </p:nvSpPr>
        <p:spPr bwMode="auto">
          <a:xfrm>
            <a:off x="5701418" y="1879340"/>
            <a:ext cx="0" cy="4141832"/>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04" name="Line 97"/>
          <p:cNvSpPr>
            <a:spLocks noChangeShapeType="1"/>
          </p:cNvSpPr>
          <p:nvPr/>
        </p:nvSpPr>
        <p:spPr bwMode="auto">
          <a:xfrm>
            <a:off x="6427638" y="1879340"/>
            <a:ext cx="0" cy="4141832"/>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05" name="Line 98"/>
          <p:cNvSpPr>
            <a:spLocks noChangeShapeType="1"/>
          </p:cNvSpPr>
          <p:nvPr/>
        </p:nvSpPr>
        <p:spPr bwMode="auto">
          <a:xfrm>
            <a:off x="7146714" y="1879340"/>
            <a:ext cx="0" cy="4141832"/>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06" name="Line 99"/>
          <p:cNvSpPr>
            <a:spLocks noChangeShapeType="1"/>
          </p:cNvSpPr>
          <p:nvPr/>
        </p:nvSpPr>
        <p:spPr bwMode="auto">
          <a:xfrm>
            <a:off x="7837218" y="1879340"/>
            <a:ext cx="0" cy="4141832"/>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07" name="Line 100"/>
          <p:cNvSpPr>
            <a:spLocks noChangeShapeType="1"/>
          </p:cNvSpPr>
          <p:nvPr/>
        </p:nvSpPr>
        <p:spPr bwMode="auto">
          <a:xfrm>
            <a:off x="3520379" y="2160304"/>
            <a:ext cx="5528792" cy="0"/>
          </a:xfrm>
          <a:prstGeom prst="line">
            <a:avLst/>
          </a:prstGeom>
          <a:noFill/>
          <a:ln w="381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08" name="Line 101"/>
          <p:cNvSpPr>
            <a:spLocks noChangeShapeType="1"/>
          </p:cNvSpPr>
          <p:nvPr/>
        </p:nvSpPr>
        <p:spPr bwMode="auto">
          <a:xfrm>
            <a:off x="3520379" y="2435315"/>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09" name="Line 102"/>
          <p:cNvSpPr>
            <a:spLocks noChangeShapeType="1"/>
          </p:cNvSpPr>
          <p:nvPr/>
        </p:nvSpPr>
        <p:spPr bwMode="auto">
          <a:xfrm>
            <a:off x="3520379" y="2710326"/>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10" name="Line 103"/>
          <p:cNvSpPr>
            <a:spLocks noChangeShapeType="1"/>
          </p:cNvSpPr>
          <p:nvPr/>
        </p:nvSpPr>
        <p:spPr bwMode="auto">
          <a:xfrm>
            <a:off x="3520379" y="2986528"/>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11" name="Line 104"/>
          <p:cNvSpPr>
            <a:spLocks noChangeShapeType="1"/>
          </p:cNvSpPr>
          <p:nvPr/>
        </p:nvSpPr>
        <p:spPr bwMode="auto">
          <a:xfrm>
            <a:off x="3520379" y="3261538"/>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12" name="Line 105"/>
          <p:cNvSpPr>
            <a:spLocks noChangeShapeType="1"/>
          </p:cNvSpPr>
          <p:nvPr/>
        </p:nvSpPr>
        <p:spPr bwMode="auto">
          <a:xfrm>
            <a:off x="3520379" y="3536550"/>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13" name="Line 106"/>
          <p:cNvSpPr>
            <a:spLocks noChangeShapeType="1"/>
          </p:cNvSpPr>
          <p:nvPr/>
        </p:nvSpPr>
        <p:spPr bwMode="auto">
          <a:xfrm>
            <a:off x="3520379" y="3812751"/>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14" name="Line 107"/>
          <p:cNvSpPr>
            <a:spLocks noChangeShapeType="1"/>
          </p:cNvSpPr>
          <p:nvPr/>
        </p:nvSpPr>
        <p:spPr bwMode="auto">
          <a:xfrm>
            <a:off x="3520379" y="4087762"/>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15" name="Line 108"/>
          <p:cNvSpPr>
            <a:spLocks noChangeShapeType="1"/>
          </p:cNvSpPr>
          <p:nvPr/>
        </p:nvSpPr>
        <p:spPr bwMode="auto">
          <a:xfrm>
            <a:off x="3520379" y="4363963"/>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16" name="Line 109"/>
          <p:cNvSpPr>
            <a:spLocks noChangeShapeType="1"/>
          </p:cNvSpPr>
          <p:nvPr/>
        </p:nvSpPr>
        <p:spPr bwMode="auto">
          <a:xfrm>
            <a:off x="3520379" y="4638975"/>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17" name="Line 110"/>
          <p:cNvSpPr>
            <a:spLocks noChangeShapeType="1"/>
          </p:cNvSpPr>
          <p:nvPr/>
        </p:nvSpPr>
        <p:spPr bwMode="auto">
          <a:xfrm>
            <a:off x="3520379" y="4913985"/>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18" name="Line 111"/>
          <p:cNvSpPr>
            <a:spLocks noChangeShapeType="1"/>
          </p:cNvSpPr>
          <p:nvPr/>
        </p:nvSpPr>
        <p:spPr bwMode="auto">
          <a:xfrm>
            <a:off x="3520379" y="5190187"/>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19" name="Line 112"/>
          <p:cNvSpPr>
            <a:spLocks noChangeShapeType="1"/>
          </p:cNvSpPr>
          <p:nvPr/>
        </p:nvSpPr>
        <p:spPr bwMode="auto">
          <a:xfrm>
            <a:off x="3520379" y="5465198"/>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20" name="Line 113"/>
          <p:cNvSpPr>
            <a:spLocks noChangeShapeType="1"/>
          </p:cNvSpPr>
          <p:nvPr/>
        </p:nvSpPr>
        <p:spPr bwMode="auto">
          <a:xfrm>
            <a:off x="3520379" y="5741400"/>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21" name="Line 114"/>
          <p:cNvSpPr>
            <a:spLocks noChangeShapeType="1"/>
          </p:cNvSpPr>
          <p:nvPr/>
        </p:nvSpPr>
        <p:spPr bwMode="auto">
          <a:xfrm>
            <a:off x="3525141" y="1879340"/>
            <a:ext cx="0" cy="4141832"/>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22" name="Line 115"/>
          <p:cNvSpPr>
            <a:spLocks noChangeShapeType="1"/>
          </p:cNvSpPr>
          <p:nvPr/>
        </p:nvSpPr>
        <p:spPr bwMode="auto">
          <a:xfrm>
            <a:off x="9044409" y="1879340"/>
            <a:ext cx="0" cy="4141832"/>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23" name="Line 116"/>
          <p:cNvSpPr>
            <a:spLocks noChangeShapeType="1"/>
          </p:cNvSpPr>
          <p:nvPr/>
        </p:nvSpPr>
        <p:spPr bwMode="auto">
          <a:xfrm>
            <a:off x="3520379" y="1884103"/>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24" name="Line 117"/>
          <p:cNvSpPr>
            <a:spLocks noChangeShapeType="1"/>
          </p:cNvSpPr>
          <p:nvPr/>
        </p:nvSpPr>
        <p:spPr bwMode="auto">
          <a:xfrm>
            <a:off x="3520379" y="6016410"/>
            <a:ext cx="5528792"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pPr defTabSz="685709">
              <a:defRPr/>
            </a:pPr>
            <a:endParaRPr lang="en-US" sz="1350" kern="0">
              <a:solidFill>
                <a:sysClr val="windowText" lastClr="000000"/>
              </a:solidFill>
              <a:latin typeface="Segoe UI Semilight"/>
            </a:endParaRPr>
          </a:p>
        </p:txBody>
      </p:sp>
      <p:sp>
        <p:nvSpPr>
          <p:cNvPr id="125" name="Rectangle 118"/>
          <p:cNvSpPr>
            <a:spLocks noChangeArrowheads="1"/>
          </p:cNvSpPr>
          <p:nvPr/>
        </p:nvSpPr>
        <p:spPr bwMode="auto">
          <a:xfrm>
            <a:off x="3797772" y="1903152"/>
            <a:ext cx="888064"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b="1" kern="0">
                <a:solidFill>
                  <a:srgbClr val="FFFFFF"/>
                </a:solidFill>
                <a:latin typeface="Segoe UI Semilight" panose="020B0402040204020203" pitchFamily="34" charset="0"/>
              </a:rPr>
              <a:t>Time Stamp</a:t>
            </a:r>
            <a:endParaRPr lang="en-US" altLang="en-US" sz="1350" kern="0">
              <a:solidFill>
                <a:srgbClr val="505050"/>
              </a:solidFill>
            </a:endParaRPr>
          </a:p>
        </p:txBody>
      </p:sp>
      <p:sp>
        <p:nvSpPr>
          <p:cNvPr id="126" name="Rectangle 119"/>
          <p:cNvSpPr>
            <a:spLocks noChangeArrowheads="1"/>
          </p:cNvSpPr>
          <p:nvPr/>
        </p:nvSpPr>
        <p:spPr bwMode="auto">
          <a:xfrm>
            <a:off x="5070441" y="1903152"/>
            <a:ext cx="503343"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b="1" kern="0">
                <a:solidFill>
                  <a:srgbClr val="FFFFFF"/>
                </a:solidFill>
                <a:latin typeface="Segoe UI Semilight" panose="020B0402040204020203" pitchFamily="34" charset="0"/>
              </a:rPr>
              <a:t>Sensor</a:t>
            </a:r>
            <a:endParaRPr lang="en-US" altLang="en-US" sz="1350" kern="0">
              <a:solidFill>
                <a:srgbClr val="505050"/>
              </a:solidFill>
            </a:endParaRPr>
          </a:p>
        </p:txBody>
      </p:sp>
      <p:sp>
        <p:nvSpPr>
          <p:cNvPr id="127" name="Rectangle 120"/>
          <p:cNvSpPr>
            <a:spLocks noChangeArrowheads="1"/>
          </p:cNvSpPr>
          <p:nvPr/>
        </p:nvSpPr>
        <p:spPr bwMode="auto">
          <a:xfrm>
            <a:off x="5893093" y="1903152"/>
            <a:ext cx="331822"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b="1" kern="0">
                <a:solidFill>
                  <a:srgbClr val="FFFFFF"/>
                </a:solidFill>
                <a:latin typeface="Segoe UI Semilight" panose="020B0402040204020203" pitchFamily="34" charset="0"/>
              </a:rPr>
              <a:t>Lag1</a:t>
            </a:r>
            <a:endParaRPr lang="en-US" altLang="en-US" sz="1350" kern="0">
              <a:solidFill>
                <a:srgbClr val="505050"/>
              </a:solidFill>
            </a:endParaRPr>
          </a:p>
        </p:txBody>
      </p:sp>
      <p:sp>
        <p:nvSpPr>
          <p:cNvPr id="128" name="Rectangle 121"/>
          <p:cNvSpPr>
            <a:spLocks noChangeArrowheads="1"/>
          </p:cNvSpPr>
          <p:nvPr/>
        </p:nvSpPr>
        <p:spPr bwMode="auto">
          <a:xfrm>
            <a:off x="6599073" y="1903152"/>
            <a:ext cx="35747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b="1" kern="0">
                <a:solidFill>
                  <a:srgbClr val="FFFFFF"/>
                </a:solidFill>
                <a:latin typeface="Segoe UI Semilight" panose="020B0402040204020203" pitchFamily="34" charset="0"/>
              </a:rPr>
              <a:t>Lag2</a:t>
            </a:r>
            <a:endParaRPr lang="en-US" altLang="en-US" sz="1350" kern="0">
              <a:solidFill>
                <a:srgbClr val="505050"/>
              </a:solidFill>
            </a:endParaRPr>
          </a:p>
        </p:txBody>
      </p:sp>
      <p:sp>
        <p:nvSpPr>
          <p:cNvPr id="129" name="Rectangle 122"/>
          <p:cNvSpPr>
            <a:spLocks noChangeArrowheads="1"/>
          </p:cNvSpPr>
          <p:nvPr/>
        </p:nvSpPr>
        <p:spPr bwMode="auto">
          <a:xfrm>
            <a:off x="7305054" y="1903152"/>
            <a:ext cx="35747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b="1" kern="0">
                <a:solidFill>
                  <a:srgbClr val="FFFFFF"/>
                </a:solidFill>
                <a:latin typeface="Segoe UI Semilight" panose="020B0402040204020203" pitchFamily="34" charset="0"/>
              </a:rPr>
              <a:t>Lag3</a:t>
            </a:r>
            <a:endParaRPr lang="en-US" altLang="en-US" sz="1350" kern="0">
              <a:solidFill>
                <a:srgbClr val="505050"/>
              </a:solidFill>
            </a:endParaRPr>
          </a:p>
        </p:txBody>
      </p:sp>
      <p:sp>
        <p:nvSpPr>
          <p:cNvPr id="130" name="Rectangle 123"/>
          <p:cNvSpPr>
            <a:spLocks noChangeArrowheads="1"/>
          </p:cNvSpPr>
          <p:nvPr/>
        </p:nvSpPr>
        <p:spPr bwMode="auto">
          <a:xfrm>
            <a:off x="8019369" y="1903152"/>
            <a:ext cx="556243"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b="1" kern="0">
                <a:solidFill>
                  <a:srgbClr val="FFFFFF"/>
                </a:solidFill>
                <a:latin typeface="Segoe UI Semilight" panose="020B0402040204020203" pitchFamily="34" charset="0"/>
              </a:rPr>
              <a:t>Rolling </a:t>
            </a:r>
            <a:endParaRPr lang="en-US" altLang="en-US" sz="1350" kern="0">
              <a:solidFill>
                <a:srgbClr val="505050"/>
              </a:solidFill>
            </a:endParaRPr>
          </a:p>
        </p:txBody>
      </p:sp>
      <p:sp>
        <p:nvSpPr>
          <p:cNvPr id="131" name="Rectangle 124"/>
          <p:cNvSpPr>
            <a:spLocks noChangeArrowheads="1"/>
          </p:cNvSpPr>
          <p:nvPr/>
        </p:nvSpPr>
        <p:spPr bwMode="auto">
          <a:xfrm>
            <a:off x="8569391" y="1903152"/>
            <a:ext cx="290144"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b="1" kern="0">
                <a:solidFill>
                  <a:srgbClr val="FFFFFF"/>
                </a:solidFill>
                <a:latin typeface="Segoe UI Semilight" panose="020B0402040204020203" pitchFamily="34" charset="0"/>
              </a:rPr>
              <a:t>Avg</a:t>
            </a:r>
            <a:endParaRPr lang="en-US" altLang="en-US" sz="1350" kern="0">
              <a:solidFill>
                <a:srgbClr val="505050"/>
              </a:solidFill>
            </a:endParaRPr>
          </a:p>
        </p:txBody>
      </p:sp>
      <p:sp>
        <p:nvSpPr>
          <p:cNvPr id="132" name="Rectangle 125"/>
          <p:cNvSpPr>
            <a:spLocks noChangeArrowheads="1"/>
          </p:cNvSpPr>
          <p:nvPr/>
        </p:nvSpPr>
        <p:spPr bwMode="auto">
          <a:xfrm>
            <a:off x="3532284" y="2226974"/>
            <a:ext cx="1277594"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13:25</a:t>
            </a:r>
            <a:endParaRPr lang="en-US" altLang="en-US" sz="1350" kern="0">
              <a:solidFill>
                <a:srgbClr val="505050"/>
              </a:solidFill>
            </a:endParaRPr>
          </a:p>
        </p:txBody>
      </p:sp>
      <p:sp>
        <p:nvSpPr>
          <p:cNvPr id="133" name="Rectangle 126"/>
          <p:cNvSpPr>
            <a:spLocks noChangeArrowheads="1"/>
          </p:cNvSpPr>
          <p:nvPr/>
        </p:nvSpPr>
        <p:spPr bwMode="auto">
          <a:xfrm>
            <a:off x="5243067" y="2191259"/>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34" name="Rectangle 127"/>
          <p:cNvSpPr>
            <a:spLocks noChangeArrowheads="1"/>
          </p:cNvSpPr>
          <p:nvPr/>
        </p:nvSpPr>
        <p:spPr bwMode="auto">
          <a:xfrm>
            <a:off x="3532284" y="2500795"/>
            <a:ext cx="87844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a:t>
            </a:r>
            <a:endParaRPr lang="en-US" altLang="en-US" sz="1350" kern="0">
              <a:solidFill>
                <a:srgbClr val="505050"/>
              </a:solidFill>
            </a:endParaRPr>
          </a:p>
        </p:txBody>
      </p:sp>
      <p:sp>
        <p:nvSpPr>
          <p:cNvPr id="135" name="Rectangle 128"/>
          <p:cNvSpPr>
            <a:spLocks noChangeArrowheads="1"/>
          </p:cNvSpPr>
          <p:nvPr/>
        </p:nvSpPr>
        <p:spPr bwMode="auto">
          <a:xfrm>
            <a:off x="4403747" y="2500795"/>
            <a:ext cx="39914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3:26</a:t>
            </a:r>
            <a:endParaRPr lang="en-US" altLang="en-US" sz="1350" kern="0">
              <a:solidFill>
                <a:srgbClr val="505050"/>
              </a:solidFill>
            </a:endParaRPr>
          </a:p>
        </p:txBody>
      </p:sp>
      <p:sp>
        <p:nvSpPr>
          <p:cNvPr id="136" name="Rectangle 129"/>
          <p:cNvSpPr>
            <a:spLocks noChangeArrowheads="1"/>
          </p:cNvSpPr>
          <p:nvPr/>
        </p:nvSpPr>
        <p:spPr bwMode="auto">
          <a:xfrm>
            <a:off x="5243067" y="2466269"/>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137" name="Rectangle 130"/>
          <p:cNvSpPr>
            <a:spLocks noChangeArrowheads="1"/>
          </p:cNvSpPr>
          <p:nvPr/>
        </p:nvSpPr>
        <p:spPr bwMode="auto">
          <a:xfrm>
            <a:off x="5980001" y="2466269"/>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38" name="Rectangle 131"/>
          <p:cNvSpPr>
            <a:spLocks noChangeArrowheads="1"/>
          </p:cNvSpPr>
          <p:nvPr/>
        </p:nvSpPr>
        <p:spPr bwMode="auto">
          <a:xfrm>
            <a:off x="3532284" y="2778186"/>
            <a:ext cx="87844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a:t>
            </a:r>
            <a:endParaRPr lang="en-US" altLang="en-US" sz="1350" kern="0">
              <a:solidFill>
                <a:srgbClr val="505050"/>
              </a:solidFill>
            </a:endParaRPr>
          </a:p>
        </p:txBody>
      </p:sp>
      <p:sp>
        <p:nvSpPr>
          <p:cNvPr id="139" name="Rectangle 132"/>
          <p:cNvSpPr>
            <a:spLocks noChangeArrowheads="1"/>
          </p:cNvSpPr>
          <p:nvPr/>
        </p:nvSpPr>
        <p:spPr bwMode="auto">
          <a:xfrm>
            <a:off x="4403747" y="2778186"/>
            <a:ext cx="39914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3:27</a:t>
            </a:r>
            <a:endParaRPr lang="en-US" altLang="en-US" sz="1350" kern="0">
              <a:solidFill>
                <a:srgbClr val="505050"/>
              </a:solidFill>
            </a:endParaRPr>
          </a:p>
        </p:txBody>
      </p:sp>
      <p:sp>
        <p:nvSpPr>
          <p:cNvPr id="140" name="Rectangle 133"/>
          <p:cNvSpPr>
            <a:spLocks noChangeArrowheads="1"/>
          </p:cNvSpPr>
          <p:nvPr/>
        </p:nvSpPr>
        <p:spPr bwMode="auto">
          <a:xfrm>
            <a:off x="5243067" y="2743662"/>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2</a:t>
            </a:r>
            <a:endParaRPr lang="en-US" altLang="en-US" sz="1350" kern="0">
              <a:solidFill>
                <a:srgbClr val="505050"/>
              </a:solidFill>
            </a:endParaRPr>
          </a:p>
        </p:txBody>
      </p:sp>
      <p:sp>
        <p:nvSpPr>
          <p:cNvPr id="141" name="Rectangle 134"/>
          <p:cNvSpPr>
            <a:spLocks noChangeArrowheads="1"/>
          </p:cNvSpPr>
          <p:nvPr/>
        </p:nvSpPr>
        <p:spPr bwMode="auto">
          <a:xfrm>
            <a:off x="5980001" y="2743662"/>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142" name="Rectangle 135"/>
          <p:cNvSpPr>
            <a:spLocks noChangeArrowheads="1"/>
          </p:cNvSpPr>
          <p:nvPr/>
        </p:nvSpPr>
        <p:spPr bwMode="auto">
          <a:xfrm>
            <a:off x="6700268" y="2743662"/>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43" name="Rectangle 136"/>
          <p:cNvSpPr>
            <a:spLocks noChangeArrowheads="1"/>
          </p:cNvSpPr>
          <p:nvPr/>
        </p:nvSpPr>
        <p:spPr bwMode="auto">
          <a:xfrm>
            <a:off x="3532284" y="3052007"/>
            <a:ext cx="87844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a:t>
            </a:r>
            <a:endParaRPr lang="en-US" altLang="en-US" sz="1350" kern="0">
              <a:solidFill>
                <a:srgbClr val="505050"/>
              </a:solidFill>
            </a:endParaRPr>
          </a:p>
        </p:txBody>
      </p:sp>
      <p:sp>
        <p:nvSpPr>
          <p:cNvPr id="144" name="Rectangle 137"/>
          <p:cNvSpPr>
            <a:spLocks noChangeArrowheads="1"/>
          </p:cNvSpPr>
          <p:nvPr/>
        </p:nvSpPr>
        <p:spPr bwMode="auto">
          <a:xfrm>
            <a:off x="4403747" y="3052007"/>
            <a:ext cx="39914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3:28</a:t>
            </a:r>
            <a:endParaRPr lang="en-US" altLang="en-US" sz="1350" kern="0">
              <a:solidFill>
                <a:srgbClr val="505050"/>
              </a:solidFill>
            </a:endParaRPr>
          </a:p>
        </p:txBody>
      </p:sp>
      <p:sp>
        <p:nvSpPr>
          <p:cNvPr id="145" name="Rectangle 138"/>
          <p:cNvSpPr>
            <a:spLocks noChangeArrowheads="1"/>
          </p:cNvSpPr>
          <p:nvPr/>
        </p:nvSpPr>
        <p:spPr bwMode="auto">
          <a:xfrm>
            <a:off x="5243067" y="3017482"/>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dirty="0">
                <a:solidFill>
                  <a:srgbClr val="000000"/>
                </a:solidFill>
                <a:latin typeface="Calibri" panose="020F0502020204030204" pitchFamily="34" charset="0"/>
              </a:rPr>
              <a:t>33</a:t>
            </a:r>
            <a:endParaRPr lang="en-US" altLang="en-US" sz="1350" kern="0" dirty="0">
              <a:solidFill>
                <a:srgbClr val="505050"/>
              </a:solidFill>
            </a:endParaRPr>
          </a:p>
        </p:txBody>
      </p:sp>
      <p:sp>
        <p:nvSpPr>
          <p:cNvPr id="146" name="Rectangle 139"/>
          <p:cNvSpPr>
            <a:spLocks noChangeArrowheads="1"/>
          </p:cNvSpPr>
          <p:nvPr/>
        </p:nvSpPr>
        <p:spPr bwMode="auto">
          <a:xfrm>
            <a:off x="5980001" y="3017482"/>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2</a:t>
            </a:r>
            <a:endParaRPr lang="en-US" altLang="en-US" sz="1350" kern="0">
              <a:solidFill>
                <a:srgbClr val="505050"/>
              </a:solidFill>
            </a:endParaRPr>
          </a:p>
        </p:txBody>
      </p:sp>
      <p:sp>
        <p:nvSpPr>
          <p:cNvPr id="147" name="Rectangle 140"/>
          <p:cNvSpPr>
            <a:spLocks noChangeArrowheads="1"/>
          </p:cNvSpPr>
          <p:nvPr/>
        </p:nvSpPr>
        <p:spPr bwMode="auto">
          <a:xfrm>
            <a:off x="6700268" y="3017482"/>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148" name="Rectangle 141"/>
          <p:cNvSpPr>
            <a:spLocks noChangeArrowheads="1"/>
          </p:cNvSpPr>
          <p:nvPr/>
        </p:nvSpPr>
        <p:spPr bwMode="auto">
          <a:xfrm>
            <a:off x="7405058" y="3017482"/>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49" name="Rectangle 142"/>
          <p:cNvSpPr>
            <a:spLocks noChangeArrowheads="1"/>
          </p:cNvSpPr>
          <p:nvPr/>
        </p:nvSpPr>
        <p:spPr bwMode="auto">
          <a:xfrm>
            <a:off x="8291998" y="3017482"/>
            <a:ext cx="30777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3.7</a:t>
            </a:r>
            <a:endParaRPr lang="en-US" altLang="en-US" sz="1350" kern="0">
              <a:solidFill>
                <a:srgbClr val="505050"/>
              </a:solidFill>
            </a:endParaRPr>
          </a:p>
        </p:txBody>
      </p:sp>
      <p:sp>
        <p:nvSpPr>
          <p:cNvPr id="150" name="Rectangle 143"/>
          <p:cNvSpPr>
            <a:spLocks noChangeArrowheads="1"/>
          </p:cNvSpPr>
          <p:nvPr/>
        </p:nvSpPr>
        <p:spPr bwMode="auto">
          <a:xfrm>
            <a:off x="3532284" y="3327018"/>
            <a:ext cx="87844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a:t>
            </a:r>
            <a:endParaRPr lang="en-US" altLang="en-US" sz="1350" kern="0">
              <a:solidFill>
                <a:srgbClr val="505050"/>
              </a:solidFill>
            </a:endParaRPr>
          </a:p>
        </p:txBody>
      </p:sp>
      <p:sp>
        <p:nvSpPr>
          <p:cNvPr id="151" name="Rectangle 144"/>
          <p:cNvSpPr>
            <a:spLocks noChangeArrowheads="1"/>
          </p:cNvSpPr>
          <p:nvPr/>
        </p:nvSpPr>
        <p:spPr bwMode="auto">
          <a:xfrm>
            <a:off x="4403747" y="3327018"/>
            <a:ext cx="39914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3:29</a:t>
            </a:r>
            <a:endParaRPr lang="en-US" altLang="en-US" sz="1350" kern="0">
              <a:solidFill>
                <a:srgbClr val="505050"/>
              </a:solidFill>
            </a:endParaRPr>
          </a:p>
        </p:txBody>
      </p:sp>
      <p:sp>
        <p:nvSpPr>
          <p:cNvPr id="152" name="Rectangle 145"/>
          <p:cNvSpPr>
            <a:spLocks noChangeArrowheads="1"/>
          </p:cNvSpPr>
          <p:nvPr/>
        </p:nvSpPr>
        <p:spPr bwMode="auto">
          <a:xfrm>
            <a:off x="5243067" y="3292493"/>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dirty="0">
                <a:solidFill>
                  <a:srgbClr val="000000"/>
                </a:solidFill>
                <a:latin typeface="Calibri" panose="020F0502020204030204" pitchFamily="34" charset="0"/>
              </a:rPr>
              <a:t>25</a:t>
            </a:r>
            <a:endParaRPr lang="en-US" altLang="en-US" sz="1350" kern="0" dirty="0">
              <a:solidFill>
                <a:srgbClr val="505050"/>
              </a:solidFill>
            </a:endParaRPr>
          </a:p>
        </p:txBody>
      </p:sp>
      <p:sp>
        <p:nvSpPr>
          <p:cNvPr id="153" name="Rectangle 146"/>
          <p:cNvSpPr>
            <a:spLocks noChangeArrowheads="1"/>
          </p:cNvSpPr>
          <p:nvPr/>
        </p:nvSpPr>
        <p:spPr bwMode="auto">
          <a:xfrm>
            <a:off x="5980001" y="3292493"/>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dirty="0">
                <a:solidFill>
                  <a:srgbClr val="000000"/>
                </a:solidFill>
                <a:latin typeface="Calibri" panose="020F0502020204030204" pitchFamily="34" charset="0"/>
              </a:rPr>
              <a:t>33</a:t>
            </a:r>
            <a:endParaRPr lang="en-US" altLang="en-US" sz="1350" kern="0" dirty="0">
              <a:solidFill>
                <a:srgbClr val="505050"/>
              </a:solidFill>
            </a:endParaRPr>
          </a:p>
        </p:txBody>
      </p:sp>
      <p:sp>
        <p:nvSpPr>
          <p:cNvPr id="154" name="Rectangle 147"/>
          <p:cNvSpPr>
            <a:spLocks noChangeArrowheads="1"/>
          </p:cNvSpPr>
          <p:nvPr/>
        </p:nvSpPr>
        <p:spPr bwMode="auto">
          <a:xfrm>
            <a:off x="6700268" y="3292493"/>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2</a:t>
            </a:r>
            <a:endParaRPr lang="en-US" altLang="en-US" sz="1350" kern="0">
              <a:solidFill>
                <a:srgbClr val="505050"/>
              </a:solidFill>
            </a:endParaRPr>
          </a:p>
        </p:txBody>
      </p:sp>
      <p:sp>
        <p:nvSpPr>
          <p:cNvPr id="155" name="Rectangle 148"/>
          <p:cNvSpPr>
            <a:spLocks noChangeArrowheads="1"/>
          </p:cNvSpPr>
          <p:nvPr/>
        </p:nvSpPr>
        <p:spPr bwMode="auto">
          <a:xfrm>
            <a:off x="7405058" y="3292493"/>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156" name="Rectangle 149"/>
          <p:cNvSpPr>
            <a:spLocks noChangeArrowheads="1"/>
          </p:cNvSpPr>
          <p:nvPr/>
        </p:nvSpPr>
        <p:spPr bwMode="auto">
          <a:xfrm>
            <a:off x="8291998" y="3292493"/>
            <a:ext cx="30777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3.3</a:t>
            </a:r>
            <a:endParaRPr lang="en-US" altLang="en-US" sz="1350" kern="0">
              <a:solidFill>
                <a:srgbClr val="505050"/>
              </a:solidFill>
            </a:endParaRPr>
          </a:p>
        </p:txBody>
      </p:sp>
      <p:sp>
        <p:nvSpPr>
          <p:cNvPr id="157" name="Rectangle 150"/>
          <p:cNvSpPr>
            <a:spLocks noChangeArrowheads="1"/>
          </p:cNvSpPr>
          <p:nvPr/>
        </p:nvSpPr>
        <p:spPr bwMode="auto">
          <a:xfrm>
            <a:off x="3532284" y="3604410"/>
            <a:ext cx="87844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a:t>
            </a:r>
            <a:endParaRPr lang="en-US" altLang="en-US" sz="1350" kern="0">
              <a:solidFill>
                <a:srgbClr val="505050"/>
              </a:solidFill>
            </a:endParaRPr>
          </a:p>
        </p:txBody>
      </p:sp>
      <p:sp>
        <p:nvSpPr>
          <p:cNvPr id="158" name="Rectangle 151"/>
          <p:cNvSpPr>
            <a:spLocks noChangeArrowheads="1"/>
          </p:cNvSpPr>
          <p:nvPr/>
        </p:nvSpPr>
        <p:spPr bwMode="auto">
          <a:xfrm>
            <a:off x="4403747" y="3604410"/>
            <a:ext cx="39914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3:30</a:t>
            </a:r>
            <a:endParaRPr lang="en-US" altLang="en-US" sz="1350" kern="0">
              <a:solidFill>
                <a:srgbClr val="505050"/>
              </a:solidFill>
            </a:endParaRPr>
          </a:p>
        </p:txBody>
      </p:sp>
      <p:sp>
        <p:nvSpPr>
          <p:cNvPr id="159" name="Rectangle 152"/>
          <p:cNvSpPr>
            <a:spLocks noChangeArrowheads="1"/>
          </p:cNvSpPr>
          <p:nvPr/>
        </p:nvSpPr>
        <p:spPr bwMode="auto">
          <a:xfrm>
            <a:off x="5243067" y="3569885"/>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dirty="0">
                <a:solidFill>
                  <a:srgbClr val="000000"/>
                </a:solidFill>
                <a:latin typeface="Calibri" panose="020F0502020204030204" pitchFamily="34" charset="0"/>
              </a:rPr>
              <a:t>23</a:t>
            </a:r>
            <a:endParaRPr lang="en-US" altLang="en-US" sz="1350" kern="0" dirty="0">
              <a:solidFill>
                <a:srgbClr val="505050"/>
              </a:solidFill>
            </a:endParaRPr>
          </a:p>
        </p:txBody>
      </p:sp>
      <p:sp>
        <p:nvSpPr>
          <p:cNvPr id="160" name="Rectangle 153"/>
          <p:cNvSpPr>
            <a:spLocks noChangeArrowheads="1"/>
          </p:cNvSpPr>
          <p:nvPr/>
        </p:nvSpPr>
        <p:spPr bwMode="auto">
          <a:xfrm>
            <a:off x="5980001" y="3569885"/>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dirty="0">
                <a:solidFill>
                  <a:srgbClr val="000000"/>
                </a:solidFill>
                <a:latin typeface="Calibri" panose="020F0502020204030204" pitchFamily="34" charset="0"/>
              </a:rPr>
              <a:t>25</a:t>
            </a:r>
            <a:endParaRPr lang="en-US" altLang="en-US" sz="1350" kern="0" dirty="0">
              <a:solidFill>
                <a:srgbClr val="505050"/>
              </a:solidFill>
            </a:endParaRPr>
          </a:p>
        </p:txBody>
      </p:sp>
      <p:sp>
        <p:nvSpPr>
          <p:cNvPr id="161" name="Rectangle 154"/>
          <p:cNvSpPr>
            <a:spLocks noChangeArrowheads="1"/>
          </p:cNvSpPr>
          <p:nvPr/>
        </p:nvSpPr>
        <p:spPr bwMode="auto">
          <a:xfrm>
            <a:off x="6700268" y="3569885"/>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3</a:t>
            </a:r>
            <a:endParaRPr lang="en-US" altLang="en-US" sz="1350" kern="0">
              <a:solidFill>
                <a:srgbClr val="505050"/>
              </a:solidFill>
            </a:endParaRPr>
          </a:p>
        </p:txBody>
      </p:sp>
      <p:sp>
        <p:nvSpPr>
          <p:cNvPr id="162" name="Rectangle 155"/>
          <p:cNvSpPr>
            <a:spLocks noChangeArrowheads="1"/>
          </p:cNvSpPr>
          <p:nvPr/>
        </p:nvSpPr>
        <p:spPr bwMode="auto">
          <a:xfrm>
            <a:off x="7405058" y="3569885"/>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2</a:t>
            </a:r>
            <a:endParaRPr lang="en-US" altLang="en-US" sz="1350" kern="0">
              <a:solidFill>
                <a:srgbClr val="505050"/>
              </a:solidFill>
            </a:endParaRPr>
          </a:p>
        </p:txBody>
      </p:sp>
      <p:sp>
        <p:nvSpPr>
          <p:cNvPr id="163" name="Rectangle 156"/>
          <p:cNvSpPr>
            <a:spLocks noChangeArrowheads="1"/>
          </p:cNvSpPr>
          <p:nvPr/>
        </p:nvSpPr>
        <p:spPr bwMode="auto">
          <a:xfrm>
            <a:off x="8291998" y="3569885"/>
            <a:ext cx="30777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0.0</a:t>
            </a:r>
            <a:endParaRPr lang="en-US" altLang="en-US" sz="1350" kern="0">
              <a:solidFill>
                <a:srgbClr val="505050"/>
              </a:solidFill>
            </a:endParaRPr>
          </a:p>
        </p:txBody>
      </p:sp>
      <p:sp>
        <p:nvSpPr>
          <p:cNvPr id="164" name="Rectangle 157"/>
          <p:cNvSpPr>
            <a:spLocks noChangeArrowheads="1"/>
          </p:cNvSpPr>
          <p:nvPr/>
        </p:nvSpPr>
        <p:spPr bwMode="auto">
          <a:xfrm>
            <a:off x="3532284" y="3878230"/>
            <a:ext cx="87844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a:t>
            </a:r>
            <a:endParaRPr lang="en-US" altLang="en-US" sz="1350" kern="0">
              <a:solidFill>
                <a:srgbClr val="505050"/>
              </a:solidFill>
            </a:endParaRPr>
          </a:p>
        </p:txBody>
      </p:sp>
      <p:sp>
        <p:nvSpPr>
          <p:cNvPr id="165" name="Rectangle 158"/>
          <p:cNvSpPr>
            <a:spLocks noChangeArrowheads="1"/>
          </p:cNvSpPr>
          <p:nvPr/>
        </p:nvSpPr>
        <p:spPr bwMode="auto">
          <a:xfrm>
            <a:off x="4403747" y="3878230"/>
            <a:ext cx="39914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3:31</a:t>
            </a:r>
            <a:endParaRPr lang="en-US" altLang="en-US" sz="1350" kern="0">
              <a:solidFill>
                <a:srgbClr val="505050"/>
              </a:solidFill>
            </a:endParaRPr>
          </a:p>
        </p:txBody>
      </p:sp>
      <p:sp>
        <p:nvSpPr>
          <p:cNvPr id="166" name="Rectangle 159"/>
          <p:cNvSpPr>
            <a:spLocks noChangeArrowheads="1"/>
          </p:cNvSpPr>
          <p:nvPr/>
        </p:nvSpPr>
        <p:spPr bwMode="auto">
          <a:xfrm>
            <a:off x="5243067" y="3843705"/>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8</a:t>
            </a:r>
            <a:endParaRPr lang="en-US" altLang="en-US" sz="1350" kern="0">
              <a:solidFill>
                <a:srgbClr val="505050"/>
              </a:solidFill>
            </a:endParaRPr>
          </a:p>
        </p:txBody>
      </p:sp>
      <p:sp>
        <p:nvSpPr>
          <p:cNvPr id="167" name="Rectangle 160"/>
          <p:cNvSpPr>
            <a:spLocks noChangeArrowheads="1"/>
          </p:cNvSpPr>
          <p:nvPr/>
        </p:nvSpPr>
        <p:spPr bwMode="auto">
          <a:xfrm>
            <a:off x="5980001" y="3843705"/>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3</a:t>
            </a:r>
            <a:endParaRPr lang="en-US" altLang="en-US" sz="1350" kern="0">
              <a:solidFill>
                <a:srgbClr val="505050"/>
              </a:solidFill>
            </a:endParaRPr>
          </a:p>
        </p:txBody>
      </p:sp>
      <p:sp>
        <p:nvSpPr>
          <p:cNvPr id="168" name="Rectangle 161"/>
          <p:cNvSpPr>
            <a:spLocks noChangeArrowheads="1"/>
          </p:cNvSpPr>
          <p:nvPr/>
        </p:nvSpPr>
        <p:spPr bwMode="auto">
          <a:xfrm>
            <a:off x="6700268" y="3843705"/>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5</a:t>
            </a:r>
            <a:endParaRPr lang="en-US" altLang="en-US" sz="1350" kern="0">
              <a:solidFill>
                <a:srgbClr val="505050"/>
              </a:solidFill>
            </a:endParaRPr>
          </a:p>
        </p:txBody>
      </p:sp>
      <p:sp>
        <p:nvSpPr>
          <p:cNvPr id="169" name="Rectangle 162"/>
          <p:cNvSpPr>
            <a:spLocks noChangeArrowheads="1"/>
          </p:cNvSpPr>
          <p:nvPr/>
        </p:nvSpPr>
        <p:spPr bwMode="auto">
          <a:xfrm>
            <a:off x="7405058" y="3843705"/>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3</a:t>
            </a:r>
            <a:endParaRPr lang="en-US" altLang="en-US" sz="1350" kern="0">
              <a:solidFill>
                <a:srgbClr val="505050"/>
              </a:solidFill>
            </a:endParaRPr>
          </a:p>
        </p:txBody>
      </p:sp>
      <p:sp>
        <p:nvSpPr>
          <p:cNvPr id="170" name="Rectangle 163"/>
          <p:cNvSpPr>
            <a:spLocks noChangeArrowheads="1"/>
          </p:cNvSpPr>
          <p:nvPr/>
        </p:nvSpPr>
        <p:spPr bwMode="auto">
          <a:xfrm>
            <a:off x="8291998" y="3843705"/>
            <a:ext cx="30777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7.0</a:t>
            </a:r>
            <a:endParaRPr lang="en-US" altLang="en-US" sz="1350" kern="0">
              <a:solidFill>
                <a:srgbClr val="505050"/>
              </a:solidFill>
            </a:endParaRPr>
          </a:p>
        </p:txBody>
      </p:sp>
      <p:sp>
        <p:nvSpPr>
          <p:cNvPr id="171" name="Rectangle 164"/>
          <p:cNvSpPr>
            <a:spLocks noChangeArrowheads="1"/>
          </p:cNvSpPr>
          <p:nvPr/>
        </p:nvSpPr>
        <p:spPr bwMode="auto">
          <a:xfrm>
            <a:off x="3532284" y="4155623"/>
            <a:ext cx="87844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a:t>
            </a:r>
            <a:endParaRPr lang="en-US" altLang="en-US" sz="1350" kern="0">
              <a:solidFill>
                <a:srgbClr val="505050"/>
              </a:solidFill>
            </a:endParaRPr>
          </a:p>
        </p:txBody>
      </p:sp>
      <p:sp>
        <p:nvSpPr>
          <p:cNvPr id="172" name="Rectangle 165"/>
          <p:cNvSpPr>
            <a:spLocks noChangeArrowheads="1"/>
          </p:cNvSpPr>
          <p:nvPr/>
        </p:nvSpPr>
        <p:spPr bwMode="auto">
          <a:xfrm>
            <a:off x="4403747" y="4155623"/>
            <a:ext cx="39914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3:32</a:t>
            </a:r>
            <a:endParaRPr lang="en-US" altLang="en-US" sz="1350" kern="0">
              <a:solidFill>
                <a:srgbClr val="505050"/>
              </a:solidFill>
            </a:endParaRPr>
          </a:p>
        </p:txBody>
      </p:sp>
      <p:sp>
        <p:nvSpPr>
          <p:cNvPr id="173" name="Rectangle 166"/>
          <p:cNvSpPr>
            <a:spLocks noChangeArrowheads="1"/>
          </p:cNvSpPr>
          <p:nvPr/>
        </p:nvSpPr>
        <p:spPr bwMode="auto">
          <a:xfrm>
            <a:off x="5243067" y="4121097"/>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74" name="Rectangle 167"/>
          <p:cNvSpPr>
            <a:spLocks noChangeArrowheads="1"/>
          </p:cNvSpPr>
          <p:nvPr/>
        </p:nvSpPr>
        <p:spPr bwMode="auto">
          <a:xfrm>
            <a:off x="5980001" y="4121097"/>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8</a:t>
            </a:r>
            <a:endParaRPr lang="en-US" altLang="en-US" sz="1350" kern="0">
              <a:solidFill>
                <a:srgbClr val="505050"/>
              </a:solidFill>
            </a:endParaRPr>
          </a:p>
        </p:txBody>
      </p:sp>
      <p:sp>
        <p:nvSpPr>
          <p:cNvPr id="175" name="Rectangle 168"/>
          <p:cNvSpPr>
            <a:spLocks noChangeArrowheads="1"/>
          </p:cNvSpPr>
          <p:nvPr/>
        </p:nvSpPr>
        <p:spPr bwMode="auto">
          <a:xfrm>
            <a:off x="6700268" y="4121097"/>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3</a:t>
            </a:r>
            <a:endParaRPr lang="en-US" altLang="en-US" sz="1350" kern="0">
              <a:solidFill>
                <a:srgbClr val="505050"/>
              </a:solidFill>
            </a:endParaRPr>
          </a:p>
        </p:txBody>
      </p:sp>
      <p:sp>
        <p:nvSpPr>
          <p:cNvPr id="176" name="Rectangle 169"/>
          <p:cNvSpPr>
            <a:spLocks noChangeArrowheads="1"/>
          </p:cNvSpPr>
          <p:nvPr/>
        </p:nvSpPr>
        <p:spPr bwMode="auto">
          <a:xfrm>
            <a:off x="7405058" y="4121097"/>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5</a:t>
            </a:r>
            <a:endParaRPr lang="en-US" altLang="en-US" sz="1350" kern="0">
              <a:solidFill>
                <a:srgbClr val="505050"/>
              </a:solidFill>
            </a:endParaRPr>
          </a:p>
        </p:txBody>
      </p:sp>
      <p:sp>
        <p:nvSpPr>
          <p:cNvPr id="177" name="Rectangle 170"/>
          <p:cNvSpPr>
            <a:spLocks noChangeArrowheads="1"/>
          </p:cNvSpPr>
          <p:nvPr/>
        </p:nvSpPr>
        <p:spPr bwMode="auto">
          <a:xfrm>
            <a:off x="8291998" y="4121097"/>
            <a:ext cx="30777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5.3</a:t>
            </a:r>
            <a:endParaRPr lang="en-US" altLang="en-US" sz="1350" kern="0">
              <a:solidFill>
                <a:srgbClr val="505050"/>
              </a:solidFill>
            </a:endParaRPr>
          </a:p>
        </p:txBody>
      </p:sp>
      <p:sp>
        <p:nvSpPr>
          <p:cNvPr id="178" name="Rectangle 171"/>
          <p:cNvSpPr>
            <a:spLocks noChangeArrowheads="1"/>
          </p:cNvSpPr>
          <p:nvPr/>
        </p:nvSpPr>
        <p:spPr bwMode="auto">
          <a:xfrm>
            <a:off x="3532284" y="4430633"/>
            <a:ext cx="1277594"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13:33</a:t>
            </a:r>
            <a:endParaRPr lang="en-US" altLang="en-US" sz="1350" kern="0">
              <a:solidFill>
                <a:srgbClr val="505050"/>
              </a:solidFill>
            </a:endParaRPr>
          </a:p>
        </p:txBody>
      </p:sp>
      <p:sp>
        <p:nvSpPr>
          <p:cNvPr id="179" name="Rectangle 172"/>
          <p:cNvSpPr>
            <a:spLocks noChangeArrowheads="1"/>
          </p:cNvSpPr>
          <p:nvPr/>
        </p:nvSpPr>
        <p:spPr bwMode="auto">
          <a:xfrm>
            <a:off x="5243067" y="4394917"/>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180" name="Rectangle 173"/>
          <p:cNvSpPr>
            <a:spLocks noChangeArrowheads="1"/>
          </p:cNvSpPr>
          <p:nvPr/>
        </p:nvSpPr>
        <p:spPr bwMode="auto">
          <a:xfrm>
            <a:off x="5980001" y="4394917"/>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81" name="Rectangle 174"/>
          <p:cNvSpPr>
            <a:spLocks noChangeArrowheads="1"/>
          </p:cNvSpPr>
          <p:nvPr/>
        </p:nvSpPr>
        <p:spPr bwMode="auto">
          <a:xfrm>
            <a:off x="6700268" y="4394917"/>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8</a:t>
            </a:r>
            <a:endParaRPr lang="en-US" altLang="en-US" sz="1350" kern="0">
              <a:solidFill>
                <a:srgbClr val="505050"/>
              </a:solidFill>
            </a:endParaRPr>
          </a:p>
        </p:txBody>
      </p:sp>
      <p:sp>
        <p:nvSpPr>
          <p:cNvPr id="182" name="Rectangle 175"/>
          <p:cNvSpPr>
            <a:spLocks noChangeArrowheads="1"/>
          </p:cNvSpPr>
          <p:nvPr/>
        </p:nvSpPr>
        <p:spPr bwMode="auto">
          <a:xfrm>
            <a:off x="7405058" y="4394917"/>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3</a:t>
            </a:r>
            <a:endParaRPr lang="en-US" altLang="en-US" sz="1350" kern="0">
              <a:solidFill>
                <a:srgbClr val="505050"/>
              </a:solidFill>
            </a:endParaRPr>
          </a:p>
        </p:txBody>
      </p:sp>
      <p:sp>
        <p:nvSpPr>
          <p:cNvPr id="183" name="Rectangle 176"/>
          <p:cNvSpPr>
            <a:spLocks noChangeArrowheads="1"/>
          </p:cNvSpPr>
          <p:nvPr/>
        </p:nvSpPr>
        <p:spPr bwMode="auto">
          <a:xfrm>
            <a:off x="8291998" y="4394917"/>
            <a:ext cx="30777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8.3</a:t>
            </a:r>
            <a:endParaRPr lang="en-US" altLang="en-US" sz="1350" kern="0">
              <a:solidFill>
                <a:srgbClr val="505050"/>
              </a:solidFill>
            </a:endParaRPr>
          </a:p>
        </p:txBody>
      </p:sp>
      <p:sp>
        <p:nvSpPr>
          <p:cNvPr id="184" name="Rectangle 177"/>
          <p:cNvSpPr>
            <a:spLocks noChangeArrowheads="1"/>
          </p:cNvSpPr>
          <p:nvPr/>
        </p:nvSpPr>
        <p:spPr bwMode="auto">
          <a:xfrm>
            <a:off x="3532284" y="4704454"/>
            <a:ext cx="1277594"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13:34</a:t>
            </a:r>
            <a:endParaRPr lang="en-US" altLang="en-US" sz="1350" kern="0">
              <a:solidFill>
                <a:srgbClr val="505050"/>
              </a:solidFill>
            </a:endParaRPr>
          </a:p>
        </p:txBody>
      </p:sp>
      <p:sp>
        <p:nvSpPr>
          <p:cNvPr id="185" name="Rectangle 178"/>
          <p:cNvSpPr>
            <a:spLocks noChangeArrowheads="1"/>
          </p:cNvSpPr>
          <p:nvPr/>
        </p:nvSpPr>
        <p:spPr bwMode="auto">
          <a:xfrm>
            <a:off x="5243067" y="4669929"/>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186" name="Rectangle 179"/>
          <p:cNvSpPr>
            <a:spLocks noChangeArrowheads="1"/>
          </p:cNvSpPr>
          <p:nvPr/>
        </p:nvSpPr>
        <p:spPr bwMode="auto">
          <a:xfrm>
            <a:off x="5980001" y="4669929"/>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187" name="Rectangle 180"/>
          <p:cNvSpPr>
            <a:spLocks noChangeArrowheads="1"/>
          </p:cNvSpPr>
          <p:nvPr/>
        </p:nvSpPr>
        <p:spPr bwMode="auto">
          <a:xfrm>
            <a:off x="6700268" y="4669929"/>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88" name="Rectangle 181"/>
          <p:cNvSpPr>
            <a:spLocks noChangeArrowheads="1"/>
          </p:cNvSpPr>
          <p:nvPr/>
        </p:nvSpPr>
        <p:spPr bwMode="auto">
          <a:xfrm>
            <a:off x="7405058" y="4669929"/>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28</a:t>
            </a:r>
            <a:endParaRPr lang="en-US" altLang="en-US" sz="1350" kern="0">
              <a:solidFill>
                <a:srgbClr val="505050"/>
              </a:solidFill>
            </a:endParaRPr>
          </a:p>
        </p:txBody>
      </p:sp>
      <p:sp>
        <p:nvSpPr>
          <p:cNvPr id="189" name="Rectangle 182"/>
          <p:cNvSpPr>
            <a:spLocks noChangeArrowheads="1"/>
          </p:cNvSpPr>
          <p:nvPr/>
        </p:nvSpPr>
        <p:spPr bwMode="auto">
          <a:xfrm>
            <a:off x="8291998" y="4669929"/>
            <a:ext cx="30777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2.3</a:t>
            </a:r>
            <a:endParaRPr lang="en-US" altLang="en-US" sz="1350" kern="0">
              <a:solidFill>
                <a:srgbClr val="505050"/>
              </a:solidFill>
            </a:endParaRPr>
          </a:p>
        </p:txBody>
      </p:sp>
      <p:sp>
        <p:nvSpPr>
          <p:cNvPr id="190" name="Rectangle 183"/>
          <p:cNvSpPr>
            <a:spLocks noChangeArrowheads="1"/>
          </p:cNvSpPr>
          <p:nvPr/>
        </p:nvSpPr>
        <p:spPr bwMode="auto">
          <a:xfrm>
            <a:off x="3532284" y="4981846"/>
            <a:ext cx="1277594"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13:35</a:t>
            </a:r>
            <a:endParaRPr lang="en-US" altLang="en-US" sz="1350" kern="0">
              <a:solidFill>
                <a:srgbClr val="505050"/>
              </a:solidFill>
            </a:endParaRPr>
          </a:p>
        </p:txBody>
      </p:sp>
      <p:sp>
        <p:nvSpPr>
          <p:cNvPr id="191" name="Rectangle 184"/>
          <p:cNvSpPr>
            <a:spLocks noChangeArrowheads="1"/>
          </p:cNvSpPr>
          <p:nvPr/>
        </p:nvSpPr>
        <p:spPr bwMode="auto">
          <a:xfrm>
            <a:off x="5243067" y="4947320"/>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92" name="Rectangle 185"/>
          <p:cNvSpPr>
            <a:spLocks noChangeArrowheads="1"/>
          </p:cNvSpPr>
          <p:nvPr/>
        </p:nvSpPr>
        <p:spPr bwMode="auto">
          <a:xfrm>
            <a:off x="5980001" y="4947320"/>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193" name="Rectangle 186"/>
          <p:cNvSpPr>
            <a:spLocks noChangeArrowheads="1"/>
          </p:cNvSpPr>
          <p:nvPr/>
        </p:nvSpPr>
        <p:spPr bwMode="auto">
          <a:xfrm>
            <a:off x="6700268" y="4947320"/>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194" name="Rectangle 187"/>
          <p:cNvSpPr>
            <a:spLocks noChangeArrowheads="1"/>
          </p:cNvSpPr>
          <p:nvPr/>
        </p:nvSpPr>
        <p:spPr bwMode="auto">
          <a:xfrm>
            <a:off x="7405058" y="4947320"/>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95" name="Rectangle 188"/>
          <p:cNvSpPr>
            <a:spLocks noChangeArrowheads="1"/>
          </p:cNvSpPr>
          <p:nvPr/>
        </p:nvSpPr>
        <p:spPr bwMode="auto">
          <a:xfrm>
            <a:off x="8291998" y="4947320"/>
            <a:ext cx="30777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7</a:t>
            </a:r>
            <a:endParaRPr lang="en-US" altLang="en-US" sz="1350" kern="0">
              <a:solidFill>
                <a:srgbClr val="505050"/>
              </a:solidFill>
            </a:endParaRPr>
          </a:p>
        </p:txBody>
      </p:sp>
      <p:sp>
        <p:nvSpPr>
          <p:cNvPr id="196" name="Rectangle 189"/>
          <p:cNvSpPr>
            <a:spLocks noChangeArrowheads="1"/>
          </p:cNvSpPr>
          <p:nvPr/>
        </p:nvSpPr>
        <p:spPr bwMode="auto">
          <a:xfrm>
            <a:off x="3532284" y="5255666"/>
            <a:ext cx="1277594"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6/2016 13:36</a:t>
            </a:r>
            <a:endParaRPr lang="en-US" altLang="en-US" sz="1350" kern="0">
              <a:solidFill>
                <a:srgbClr val="505050"/>
              </a:solidFill>
            </a:endParaRPr>
          </a:p>
        </p:txBody>
      </p:sp>
      <p:sp>
        <p:nvSpPr>
          <p:cNvPr id="197" name="Rectangle 190"/>
          <p:cNvSpPr>
            <a:spLocks noChangeArrowheads="1"/>
          </p:cNvSpPr>
          <p:nvPr/>
        </p:nvSpPr>
        <p:spPr bwMode="auto">
          <a:xfrm>
            <a:off x="5243067" y="5221141"/>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98" name="Rectangle 191"/>
          <p:cNvSpPr>
            <a:spLocks noChangeArrowheads="1"/>
          </p:cNvSpPr>
          <p:nvPr/>
        </p:nvSpPr>
        <p:spPr bwMode="auto">
          <a:xfrm>
            <a:off x="5980001" y="5221141"/>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99" name="Rectangle 192"/>
          <p:cNvSpPr>
            <a:spLocks noChangeArrowheads="1"/>
          </p:cNvSpPr>
          <p:nvPr/>
        </p:nvSpPr>
        <p:spPr bwMode="auto">
          <a:xfrm>
            <a:off x="6700268" y="5221141"/>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200" name="Rectangle 193"/>
          <p:cNvSpPr>
            <a:spLocks noChangeArrowheads="1"/>
          </p:cNvSpPr>
          <p:nvPr/>
        </p:nvSpPr>
        <p:spPr bwMode="auto">
          <a:xfrm>
            <a:off x="7405058" y="5221141"/>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201" name="Rectangle 194"/>
          <p:cNvSpPr>
            <a:spLocks noChangeArrowheads="1"/>
          </p:cNvSpPr>
          <p:nvPr/>
        </p:nvSpPr>
        <p:spPr bwMode="auto">
          <a:xfrm>
            <a:off x="8291998" y="5221141"/>
            <a:ext cx="30777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7</a:t>
            </a:r>
            <a:endParaRPr lang="en-US" altLang="en-US" sz="1350" kern="0">
              <a:solidFill>
                <a:srgbClr val="505050"/>
              </a:solidFill>
            </a:endParaRPr>
          </a:p>
        </p:txBody>
      </p:sp>
      <p:sp>
        <p:nvSpPr>
          <p:cNvPr id="202" name="Rectangle 195"/>
          <p:cNvSpPr>
            <a:spLocks noChangeArrowheads="1"/>
          </p:cNvSpPr>
          <p:nvPr/>
        </p:nvSpPr>
        <p:spPr bwMode="auto">
          <a:xfrm>
            <a:off x="3532284" y="5530677"/>
            <a:ext cx="12022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a:t>
            </a:r>
            <a:endParaRPr lang="en-US" altLang="en-US" sz="1350" kern="0">
              <a:solidFill>
                <a:srgbClr val="505050"/>
              </a:solidFill>
            </a:endParaRPr>
          </a:p>
        </p:txBody>
      </p:sp>
      <p:sp>
        <p:nvSpPr>
          <p:cNvPr id="203" name="Rectangle 196"/>
          <p:cNvSpPr>
            <a:spLocks noChangeArrowheads="1"/>
          </p:cNvSpPr>
          <p:nvPr/>
        </p:nvSpPr>
        <p:spPr bwMode="auto">
          <a:xfrm>
            <a:off x="5271640" y="5498533"/>
            <a:ext cx="12022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a:t>
            </a:r>
            <a:endParaRPr lang="en-US" altLang="en-US" sz="1350" kern="0">
              <a:solidFill>
                <a:srgbClr val="505050"/>
              </a:solidFill>
            </a:endParaRPr>
          </a:p>
        </p:txBody>
      </p:sp>
      <p:sp>
        <p:nvSpPr>
          <p:cNvPr id="204" name="Rectangle 197"/>
          <p:cNvSpPr>
            <a:spLocks noChangeArrowheads="1"/>
          </p:cNvSpPr>
          <p:nvPr/>
        </p:nvSpPr>
        <p:spPr bwMode="auto">
          <a:xfrm>
            <a:off x="6008573" y="5498533"/>
            <a:ext cx="12022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a:t>
            </a:r>
            <a:endParaRPr lang="en-US" altLang="en-US" sz="1350" kern="0">
              <a:solidFill>
                <a:srgbClr val="505050"/>
              </a:solidFill>
            </a:endParaRPr>
          </a:p>
        </p:txBody>
      </p:sp>
      <p:sp>
        <p:nvSpPr>
          <p:cNvPr id="205" name="Rectangle 198"/>
          <p:cNvSpPr>
            <a:spLocks noChangeArrowheads="1"/>
          </p:cNvSpPr>
          <p:nvPr/>
        </p:nvSpPr>
        <p:spPr bwMode="auto">
          <a:xfrm>
            <a:off x="6728841" y="5498533"/>
            <a:ext cx="12022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a:t>
            </a:r>
            <a:endParaRPr lang="en-US" altLang="en-US" sz="1350" kern="0">
              <a:solidFill>
                <a:srgbClr val="505050"/>
              </a:solidFill>
            </a:endParaRPr>
          </a:p>
        </p:txBody>
      </p:sp>
      <p:sp>
        <p:nvSpPr>
          <p:cNvPr id="206" name="Rectangle 199"/>
          <p:cNvSpPr>
            <a:spLocks noChangeArrowheads="1"/>
          </p:cNvSpPr>
          <p:nvPr/>
        </p:nvSpPr>
        <p:spPr bwMode="auto">
          <a:xfrm>
            <a:off x="7434821" y="5498533"/>
            <a:ext cx="12022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a:t>
            </a:r>
            <a:endParaRPr lang="en-US" altLang="en-US" sz="1350" kern="0">
              <a:solidFill>
                <a:srgbClr val="505050"/>
              </a:solidFill>
            </a:endParaRPr>
          </a:p>
        </p:txBody>
      </p:sp>
      <p:sp>
        <p:nvSpPr>
          <p:cNvPr id="207" name="Rectangle 200"/>
          <p:cNvSpPr>
            <a:spLocks noChangeArrowheads="1"/>
          </p:cNvSpPr>
          <p:nvPr/>
        </p:nvSpPr>
        <p:spPr bwMode="auto">
          <a:xfrm>
            <a:off x="8382478" y="5498533"/>
            <a:ext cx="12022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a:t>
            </a:r>
            <a:endParaRPr lang="en-US" altLang="en-US" sz="1350" kern="0">
              <a:solidFill>
                <a:srgbClr val="505050"/>
              </a:solidFill>
            </a:endParaRPr>
          </a:p>
        </p:txBody>
      </p:sp>
      <p:sp>
        <p:nvSpPr>
          <p:cNvPr id="208" name="Rectangle 201"/>
          <p:cNvSpPr>
            <a:spLocks noChangeArrowheads="1"/>
          </p:cNvSpPr>
          <p:nvPr/>
        </p:nvSpPr>
        <p:spPr bwMode="auto">
          <a:xfrm>
            <a:off x="3532284" y="5808069"/>
            <a:ext cx="1277594"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11/18/2016 23:59</a:t>
            </a:r>
            <a:endParaRPr lang="en-US" altLang="en-US" sz="1350" kern="0">
              <a:solidFill>
                <a:srgbClr val="505050"/>
              </a:solidFill>
            </a:endParaRPr>
          </a:p>
        </p:txBody>
      </p:sp>
      <p:sp>
        <p:nvSpPr>
          <p:cNvPr id="209" name="Rectangle 202"/>
          <p:cNvSpPr>
            <a:spLocks noChangeArrowheads="1"/>
          </p:cNvSpPr>
          <p:nvPr/>
        </p:nvSpPr>
        <p:spPr bwMode="auto">
          <a:xfrm>
            <a:off x="5243067" y="5773544"/>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210" name="Rectangle 203"/>
          <p:cNvSpPr>
            <a:spLocks noChangeArrowheads="1"/>
          </p:cNvSpPr>
          <p:nvPr/>
        </p:nvSpPr>
        <p:spPr bwMode="auto">
          <a:xfrm>
            <a:off x="5980001" y="5773544"/>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5</a:t>
            </a:r>
            <a:endParaRPr lang="en-US" altLang="en-US" sz="1350" kern="0">
              <a:solidFill>
                <a:srgbClr val="505050"/>
              </a:solidFill>
            </a:endParaRPr>
          </a:p>
        </p:txBody>
      </p:sp>
      <p:sp>
        <p:nvSpPr>
          <p:cNvPr id="211" name="Rectangle 204"/>
          <p:cNvSpPr>
            <a:spLocks noChangeArrowheads="1"/>
          </p:cNvSpPr>
          <p:nvPr/>
        </p:nvSpPr>
        <p:spPr bwMode="auto">
          <a:xfrm>
            <a:off x="6700268" y="5773544"/>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0" name="Rectangle 206"/>
          <p:cNvSpPr>
            <a:spLocks noChangeArrowheads="1"/>
          </p:cNvSpPr>
          <p:nvPr/>
        </p:nvSpPr>
        <p:spPr bwMode="auto">
          <a:xfrm>
            <a:off x="7405058" y="5773545"/>
            <a:ext cx="17633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a:t>
            </a:r>
            <a:endParaRPr lang="en-US" altLang="en-US" sz="1350" kern="0">
              <a:solidFill>
                <a:srgbClr val="505050"/>
              </a:solidFill>
            </a:endParaRPr>
          </a:p>
        </p:txBody>
      </p:sp>
      <p:sp>
        <p:nvSpPr>
          <p:cNvPr id="11" name="Rectangle 207"/>
          <p:cNvSpPr>
            <a:spLocks noChangeArrowheads="1"/>
          </p:cNvSpPr>
          <p:nvPr/>
        </p:nvSpPr>
        <p:spPr bwMode="auto">
          <a:xfrm>
            <a:off x="8291998" y="5773545"/>
            <a:ext cx="30777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09">
              <a:defRPr/>
            </a:pPr>
            <a:r>
              <a:rPr lang="en-US" altLang="en-US" sz="1350" kern="0">
                <a:solidFill>
                  <a:srgbClr val="000000"/>
                </a:solidFill>
                <a:latin typeface="Calibri" panose="020F0502020204030204" pitchFamily="34" charset="0"/>
              </a:rPr>
              <a:t>34.3</a:t>
            </a:r>
            <a:endParaRPr lang="en-US" altLang="en-US" sz="1350" kern="0">
              <a:solidFill>
                <a:srgbClr val="505050"/>
              </a:solidFill>
            </a:endParaRPr>
          </a:p>
        </p:txBody>
      </p:sp>
      <p:sp>
        <p:nvSpPr>
          <p:cNvPr id="212" name="Right Brace 211"/>
          <p:cNvSpPr/>
          <p:nvPr/>
        </p:nvSpPr>
        <p:spPr>
          <a:xfrm>
            <a:off x="2546328" y="2554367"/>
            <a:ext cx="171435" cy="628597"/>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709">
              <a:defRPr/>
            </a:pPr>
            <a:endParaRPr lang="en-US" sz="1350" kern="0">
              <a:solidFill>
                <a:sysClr val="windowText" lastClr="000000"/>
              </a:solidFill>
              <a:latin typeface="Segoe UI Semilight"/>
            </a:endParaRPr>
          </a:p>
        </p:txBody>
      </p:sp>
      <p:sp>
        <p:nvSpPr>
          <p:cNvPr id="213" name="Right Brace 212"/>
          <p:cNvSpPr/>
          <p:nvPr/>
        </p:nvSpPr>
        <p:spPr>
          <a:xfrm>
            <a:off x="2544891" y="5013393"/>
            <a:ext cx="171435" cy="628597"/>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709">
              <a:defRPr/>
            </a:pPr>
            <a:endParaRPr lang="en-US" sz="1350" kern="0">
              <a:solidFill>
                <a:sysClr val="windowText" lastClr="000000"/>
              </a:solidFill>
              <a:latin typeface="Segoe UI Semilight"/>
            </a:endParaRPr>
          </a:p>
        </p:txBody>
      </p:sp>
    </p:spTree>
    <p:extLst>
      <p:ext uri="{BB962C8B-B14F-4D97-AF65-F5344CB8AC3E}">
        <p14:creationId xmlns:p14="http://schemas.microsoft.com/office/powerpoint/2010/main" val="7837527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6"/>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2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5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xit" presetSubtype="0" fill="hold" grpId="1" nodeType="clickEffect">
                                  <p:stCondLst>
                                    <p:cond delay="0"/>
                                  </p:stCondLst>
                                  <p:childTnLst>
                                    <p:set>
                                      <p:cBhvr>
                                        <p:cTn id="38" dur="1" fill="hold">
                                          <p:stCondLst>
                                            <p:cond delay="0"/>
                                          </p:stCondLst>
                                        </p:cTn>
                                        <p:tgtEl>
                                          <p:spTgt spid="212"/>
                                        </p:tgtEl>
                                        <p:attrNameLst>
                                          <p:attrName>style.visibility</p:attrName>
                                        </p:attrNameLst>
                                      </p:cBhvr>
                                      <p:to>
                                        <p:strVal val="hidden"/>
                                      </p:to>
                                    </p:set>
                                  </p:childTnLst>
                                </p:cTn>
                              </p:par>
                              <p:par>
                                <p:cTn id="39" presetID="1" presetClass="entr" presetSubtype="0" fill="hold" grpId="0" nodeType="withEffect">
                                  <p:stCondLst>
                                    <p:cond delay="0"/>
                                  </p:stCondLst>
                                  <p:childTnLst>
                                    <p:set>
                                      <p:cBhvr>
                                        <p:cTn id="40" dur="1" fill="hold">
                                          <p:stCondLst>
                                            <p:cond delay="0"/>
                                          </p:stCondLst>
                                        </p:cTn>
                                        <p:tgtEl>
                                          <p:spTgt spid="21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1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1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0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03"/>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04"/>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05"/>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0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0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0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00"/>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99"/>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98"/>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97"/>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91"/>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92"/>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93"/>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9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195"/>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189"/>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188"/>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87"/>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186"/>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85"/>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179"/>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180"/>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181"/>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182"/>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183"/>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177"/>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176"/>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175"/>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174"/>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173"/>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166"/>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167"/>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168"/>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169"/>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170"/>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163"/>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162"/>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161"/>
                                        </p:tgtEl>
                                        <p:attrNameLst>
                                          <p:attrName>style.visibility</p:attrName>
                                        </p:attrNameLst>
                                      </p:cBhvr>
                                      <p:to>
                                        <p:strVal val="visible"/>
                                      </p:to>
                                    </p:set>
                                  </p:childTnLst>
                                </p:cTn>
                              </p:par>
                              <p:par>
                                <p:cTn id="127" presetID="1" presetClass="entr" presetSubtype="0" fill="hold" grpId="0" nodeType="withEffect">
                                  <p:stCondLst>
                                    <p:cond delay="0"/>
                                  </p:stCondLst>
                                  <p:childTnLst>
                                    <p:set>
                                      <p:cBhvr>
                                        <p:cTn id="128" dur="1" fill="hold">
                                          <p:stCondLst>
                                            <p:cond delay="0"/>
                                          </p:stCondLst>
                                        </p:cTn>
                                        <p:tgtEl>
                                          <p:spTgt spid="160"/>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1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145" grpId="0"/>
      <p:bldP spid="146" grpId="0"/>
      <p:bldP spid="147" grpId="0"/>
      <p:bldP spid="148" grpId="0"/>
      <p:bldP spid="149" grpId="0"/>
      <p:bldP spid="152" grpId="0"/>
      <p:bldP spid="153" grpId="0"/>
      <p:bldP spid="154" grpId="0"/>
      <p:bldP spid="155" grpId="0"/>
      <p:bldP spid="156" grpId="0"/>
      <p:bldP spid="159" grpId="0"/>
      <p:bldP spid="160" grpId="0"/>
      <p:bldP spid="161" grpId="0"/>
      <p:bldP spid="162" grpId="0"/>
      <p:bldP spid="163" grpId="0"/>
      <p:bldP spid="166" grpId="0"/>
      <p:bldP spid="167" grpId="0"/>
      <p:bldP spid="168" grpId="0"/>
      <p:bldP spid="169" grpId="0"/>
      <p:bldP spid="170" grpId="0"/>
      <p:bldP spid="173" grpId="0"/>
      <p:bldP spid="174" grpId="0"/>
      <p:bldP spid="175" grpId="0"/>
      <p:bldP spid="176" grpId="0"/>
      <p:bldP spid="177" grpId="0"/>
      <p:bldP spid="179" grpId="0"/>
      <p:bldP spid="180" grpId="0"/>
      <p:bldP spid="181" grpId="0"/>
      <p:bldP spid="182" grpId="0"/>
      <p:bldP spid="183" grpId="0"/>
      <p:bldP spid="185" grpId="0"/>
      <p:bldP spid="186" grpId="0"/>
      <p:bldP spid="187" grpId="0"/>
      <p:bldP spid="188" grpId="0"/>
      <p:bldP spid="189" grpId="0"/>
      <p:bldP spid="191" grpId="0"/>
      <p:bldP spid="192" grpId="0"/>
      <p:bldP spid="193" grpId="0"/>
      <p:bldP spid="194" grpId="0"/>
      <p:bldP spid="195" grpId="0"/>
      <p:bldP spid="197" grpId="0"/>
      <p:bldP spid="198" grpId="0"/>
      <p:bldP spid="199" grpId="0"/>
      <p:bldP spid="200" grpId="0"/>
      <p:bldP spid="201" grpId="0"/>
      <p:bldP spid="203" grpId="0"/>
      <p:bldP spid="204" grpId="0"/>
      <p:bldP spid="205" grpId="0"/>
      <p:bldP spid="206" grpId="0"/>
      <p:bldP spid="207" grpId="0"/>
      <p:bldP spid="209" grpId="0"/>
      <p:bldP spid="210" grpId="0"/>
      <p:bldP spid="211" grpId="0"/>
      <p:bldP spid="10" grpId="0"/>
      <p:bldP spid="11" grpId="0"/>
      <p:bldP spid="212" grpId="0" animBg="1"/>
      <p:bldP spid="212" grpId="1" animBg="1"/>
      <p:bldP spid="21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67481" y="449262"/>
            <a:ext cx="8777288" cy="932435"/>
          </a:xfrm>
        </p:spPr>
        <p:txBody>
          <a:bodyPr/>
          <a:lstStyle/>
          <a:p>
            <a:r>
              <a:rPr lang="en-US" dirty="0"/>
              <a:t>Session Takeaways</a:t>
            </a:r>
          </a:p>
        </p:txBody>
      </p:sp>
      <p:sp>
        <p:nvSpPr>
          <p:cNvPr id="18" name="Text Placeholder 6"/>
          <p:cNvSpPr txBox="1">
            <a:spLocks/>
          </p:cNvSpPr>
          <p:nvPr/>
        </p:nvSpPr>
        <p:spPr>
          <a:xfrm>
            <a:off x="171677" y="2049462"/>
            <a:ext cx="8777287" cy="3619452"/>
          </a:xfrm>
          <a:prstGeom prst="rect">
            <a:avLst/>
          </a:prstGeom>
        </p:spPr>
        <p:txBody>
          <a:bodyPr vert="horz" wrap="square" lIns="164592" tIns="91440" rIns="164592" bIns="91440" rtlCol="0">
            <a:spAutoFit/>
          </a:bodyPr>
          <a:lstStyle>
            <a:lvl1pPr marL="0"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99000">
                      <a:schemeClr val="tx1"/>
                    </a:gs>
                  </a:gsLst>
                  <a:lin ang="5400000" scaled="0"/>
                </a:gradFill>
                <a:latin typeface="+mj-lt"/>
                <a:ea typeface="+mn-ea"/>
                <a:cs typeface="+mn-cs"/>
              </a:defRPr>
            </a:lvl1pPr>
            <a:lvl2pPr marL="0" marR="0" indent="0" algn="l" defTabSz="699463"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171427"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342854"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514281" marR="0" indent="0" algn="l" defTabSz="6994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699463" rtl="0" eaLnBrk="1" fontAlgn="auto" latinLnBrk="0" hangingPunct="1">
              <a:lnSpc>
                <a:spcPct val="90000"/>
              </a:lnSpc>
              <a:spcBef>
                <a:spcPct val="20000"/>
              </a:spcBef>
              <a:spcAft>
                <a:spcPts val="0"/>
              </a:spcAft>
              <a:buClrTx/>
              <a:buSzPct val="90000"/>
              <a:buFont typeface="Arial" pitchFamily="34" charset="0"/>
              <a:buNone/>
              <a:tabLst/>
              <a:defRPr/>
            </a:pPr>
            <a:r>
              <a:rPr lang="en-US" sz="2400" dirty="0">
                <a:solidFill>
                  <a:srgbClr val="002060"/>
                </a:solidFill>
                <a:latin typeface="Segoe UI Light"/>
              </a:rPr>
              <a:t>“As a Data Professional, I’d like to know how to work better with data scientists.”</a:t>
            </a:r>
          </a:p>
          <a:p>
            <a:pPr marL="0" marR="0" lvl="0" indent="0" algn="l" defTabSz="699463"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002060"/>
                </a:solidFill>
                <a:effectLst/>
                <a:uLnTx/>
                <a:uFillTx/>
                <a:latin typeface="Segoe UI Light"/>
                <a:ea typeface="+mn-ea"/>
                <a:cs typeface="+mn-cs"/>
              </a:rPr>
              <a:t>“As a Data Professional, I’d like a better grounding in the fundamentals of data science.”  </a:t>
            </a:r>
          </a:p>
          <a:p>
            <a:pPr marL="0" marR="0" lvl="0" indent="0" algn="l" defTabSz="699463" rtl="0" eaLnBrk="1" fontAlgn="auto" latinLnBrk="0" hangingPunct="1">
              <a:lnSpc>
                <a:spcPct val="90000"/>
              </a:lnSpc>
              <a:spcBef>
                <a:spcPct val="20000"/>
              </a:spcBef>
              <a:spcAft>
                <a:spcPts val="0"/>
              </a:spcAft>
              <a:buClrTx/>
              <a:buSzPct val="90000"/>
              <a:buFont typeface="Arial" pitchFamily="34" charset="0"/>
              <a:buNone/>
              <a:tabLst/>
              <a:defRPr/>
            </a:pPr>
            <a:endParaRPr lang="en-US" sz="2400" dirty="0">
              <a:solidFill>
                <a:srgbClr val="002060"/>
              </a:solidFill>
              <a:latin typeface="Segoe UI Light"/>
            </a:endParaRPr>
          </a:p>
          <a:p>
            <a:pPr marL="0" marR="0" lvl="0" indent="0" algn="l" defTabSz="699463" rtl="0" eaLnBrk="1" fontAlgn="auto" latinLnBrk="0" hangingPunct="1">
              <a:lnSpc>
                <a:spcPct val="90000"/>
              </a:lnSpc>
              <a:spcBef>
                <a:spcPct val="20000"/>
              </a:spcBef>
              <a:spcAft>
                <a:spcPts val="0"/>
              </a:spcAft>
              <a:buClrTx/>
              <a:buSzPct val="90000"/>
              <a:buFont typeface="Arial" pitchFamily="34" charset="0"/>
              <a:buNone/>
              <a:tabLst/>
              <a:defRPr/>
            </a:pPr>
            <a:endParaRPr lang="en-US" sz="2400" dirty="0">
              <a:solidFill>
                <a:srgbClr val="002060"/>
              </a:solidFill>
              <a:latin typeface="Segoe UI Light"/>
            </a:endParaRPr>
          </a:p>
          <a:p>
            <a:pPr marL="0" marR="0" lvl="0" indent="0" algn="l" defTabSz="699463" rtl="0" eaLnBrk="1" fontAlgn="auto" latinLnBrk="0" hangingPunct="1">
              <a:lnSpc>
                <a:spcPct val="90000"/>
              </a:lnSpc>
              <a:spcBef>
                <a:spcPct val="20000"/>
              </a:spcBef>
              <a:spcAft>
                <a:spcPts val="0"/>
              </a:spcAft>
              <a:buClrTx/>
              <a:buSzPct val="90000"/>
              <a:buFont typeface="Arial" pitchFamily="34" charset="0"/>
              <a:buNone/>
              <a:tabLst/>
              <a:defRPr/>
            </a:pPr>
            <a:r>
              <a:rPr lang="en-US" sz="2400" dirty="0">
                <a:solidFill>
                  <a:srgbClr val="002060"/>
                </a:solidFill>
                <a:latin typeface="Segoe UI Light"/>
              </a:rPr>
              <a:t>INTERRUPT me at ANY time!</a:t>
            </a:r>
          </a:p>
          <a:p>
            <a:pPr marL="0" marR="0" lvl="0" indent="0" algn="l" defTabSz="699463" rtl="0" eaLnBrk="1" fontAlgn="auto" latinLnBrk="0" hangingPunct="1">
              <a:lnSpc>
                <a:spcPct val="90000"/>
              </a:lnSpc>
              <a:spcBef>
                <a:spcPct val="20000"/>
              </a:spcBef>
              <a:spcAft>
                <a:spcPts val="0"/>
              </a:spcAft>
              <a:buClrTx/>
              <a:buSzPct val="90000"/>
              <a:buFont typeface="Arial" pitchFamily="34" charset="0"/>
              <a:buNone/>
              <a:tabLst/>
              <a:defRPr/>
            </a:pPr>
            <a:endParaRPr lang="en-US" sz="2400" baseline="0" dirty="0">
              <a:gradFill>
                <a:gsLst>
                  <a:gs pos="1250">
                    <a:srgbClr val="FFFFFF"/>
                  </a:gs>
                  <a:gs pos="99000">
                    <a:srgbClr val="FFFFFF"/>
                  </a:gs>
                </a:gsLst>
                <a:lin ang="5400000" scaled="0"/>
              </a:gradFill>
              <a:latin typeface="Segoe UI Light"/>
            </a:endParaRPr>
          </a:p>
          <a:p>
            <a:pPr marL="0" marR="0" lvl="0" indent="0" algn="l" defTabSz="699463"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gradFill>
                <a:gsLst>
                  <a:gs pos="1250">
                    <a:srgbClr val="FFFFFF"/>
                  </a:gs>
                  <a:gs pos="99000">
                    <a:srgbClr val="FFFFFF"/>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449317940"/>
      </p:ext>
    </p:extLst>
  </p:cSld>
  <p:clrMapOvr>
    <a:overrideClrMapping bg1="lt1" tx1="dk1" bg2="lt2" tx2="dk2" accent1="accent1" accent2="accent2" accent3="accent3" accent4="accent4" accent5="accent5" accent6="accent6" hlink="hlink" folHlink="folHlink"/>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Feature Engineering Methods</a:t>
            </a:r>
          </a:p>
        </p:txBody>
      </p:sp>
      <p:sp>
        <p:nvSpPr>
          <p:cNvPr id="27" name="Rectangle 26"/>
          <p:cNvSpPr/>
          <p:nvPr/>
        </p:nvSpPr>
        <p:spPr>
          <a:xfrm>
            <a:off x="335039" y="3084727"/>
            <a:ext cx="6299043" cy="1213749"/>
          </a:xfrm>
          <a:prstGeom prst="rect">
            <a:avLst/>
          </a:prstGeom>
          <a:no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lIns="139879" rtlCol="0" anchor="ctr">
            <a:noAutofit/>
          </a:bodyPr>
          <a:lstStyle/>
          <a:p>
            <a:pPr>
              <a:spcBef>
                <a:spcPts val="459"/>
              </a:spcBef>
            </a:pPr>
            <a:r>
              <a:rPr lang="en-IN" sz="1836" dirty="0">
                <a:solidFill>
                  <a:schemeClr val="tx1">
                    <a:lumMod val="75000"/>
                    <a:lumOff val="25000"/>
                  </a:schemeClr>
                </a:solidFill>
              </a:rPr>
              <a:t>2- Lag features for short term: </a:t>
            </a:r>
          </a:p>
          <a:p>
            <a:pPr>
              <a:spcBef>
                <a:spcPts val="459"/>
              </a:spcBef>
            </a:pPr>
            <a:r>
              <a:rPr lang="en-IN" sz="1200" dirty="0">
                <a:solidFill>
                  <a:schemeClr val="tx1">
                    <a:lumMod val="75000"/>
                    <a:lumOff val="25000"/>
                  </a:schemeClr>
                </a:solidFill>
              </a:rPr>
              <a:t>For each labelled record of an asset, pick a window of size w and use tumbling windows to create aggregate features for the periods before the labelling date and time.  </a:t>
            </a:r>
          </a:p>
        </p:txBody>
      </p:sp>
      <p:sp>
        <p:nvSpPr>
          <p:cNvPr id="30" name="Rectangle 29"/>
          <p:cNvSpPr/>
          <p:nvPr/>
        </p:nvSpPr>
        <p:spPr>
          <a:xfrm>
            <a:off x="335039" y="4380970"/>
            <a:ext cx="6299043" cy="1213749"/>
          </a:xfrm>
          <a:prstGeom prst="rect">
            <a:avLst/>
          </a:prstGeom>
          <a:no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lIns="139879" rtlCol="0" anchor="ctr">
            <a:noAutofit/>
          </a:bodyPr>
          <a:lstStyle/>
          <a:p>
            <a:pPr>
              <a:spcBef>
                <a:spcPts val="459"/>
              </a:spcBef>
            </a:pPr>
            <a:r>
              <a:rPr lang="en-IN" sz="1836" dirty="0">
                <a:solidFill>
                  <a:schemeClr val="tx1">
                    <a:lumMod val="75000"/>
                    <a:lumOff val="25000"/>
                  </a:schemeClr>
                </a:solidFill>
              </a:rPr>
              <a:t>3- Lag features for long term: </a:t>
            </a:r>
          </a:p>
          <a:p>
            <a:pPr>
              <a:spcBef>
                <a:spcPts val="459"/>
              </a:spcBef>
            </a:pPr>
            <a:r>
              <a:rPr lang="en-IN" sz="1200" dirty="0">
                <a:solidFill>
                  <a:schemeClr val="tx1">
                    <a:lumMod val="75000"/>
                    <a:lumOff val="25000"/>
                  </a:schemeClr>
                </a:solidFill>
              </a:rPr>
              <a:t>For each labelled record, find aggregated features for a larger window than w reflecting the long term effects. </a:t>
            </a:r>
          </a:p>
        </p:txBody>
      </p:sp>
      <p:sp>
        <p:nvSpPr>
          <p:cNvPr id="40" name="Rectangle 39"/>
          <p:cNvSpPr/>
          <p:nvPr/>
        </p:nvSpPr>
        <p:spPr>
          <a:xfrm>
            <a:off x="335038" y="3084726"/>
            <a:ext cx="34970" cy="1216944"/>
          </a:xfrm>
          <a:prstGeom prst="rect">
            <a:avLst/>
          </a:prstGeom>
          <a:solidFill>
            <a:schemeClr val="tx2"/>
          </a:solidFill>
          <a:ln w="3175">
            <a:solidFill>
              <a:schemeClr val="tx2"/>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IN" sz="2448" dirty="0">
              <a:solidFill>
                <a:schemeClr val="tx1">
                  <a:lumMod val="75000"/>
                  <a:lumOff val="25000"/>
                </a:schemeClr>
              </a:solidFill>
              <a:latin typeface="Segoe UI Light" panose="020B0502040204020203" pitchFamily="34" charset="0"/>
              <a:cs typeface="Segoe UI Light" panose="020B0502040204020203" pitchFamily="34" charset="0"/>
            </a:endParaRPr>
          </a:p>
        </p:txBody>
      </p:sp>
      <p:sp>
        <p:nvSpPr>
          <p:cNvPr id="42" name="Rectangle 41"/>
          <p:cNvSpPr/>
          <p:nvPr/>
        </p:nvSpPr>
        <p:spPr>
          <a:xfrm>
            <a:off x="335038" y="4380970"/>
            <a:ext cx="34970" cy="1216944"/>
          </a:xfrm>
          <a:prstGeom prst="rect">
            <a:avLst/>
          </a:prstGeom>
          <a:solidFill>
            <a:schemeClr val="tx2"/>
          </a:solidFill>
          <a:ln w="3175">
            <a:solidFill>
              <a:schemeClr val="tx2"/>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IN" sz="2448" dirty="0">
              <a:solidFill>
                <a:schemeClr val="tx1">
                  <a:lumMod val="75000"/>
                  <a:lumOff val="25000"/>
                </a:schemeClr>
              </a:solidFill>
              <a:latin typeface="Segoe UI Light" panose="020B0502040204020203" pitchFamily="34" charset="0"/>
              <a:cs typeface="Segoe UI Light" panose="020B0502040204020203" pitchFamily="34" charset="0"/>
            </a:endParaRPr>
          </a:p>
        </p:txBody>
      </p:sp>
      <p:sp>
        <p:nvSpPr>
          <p:cNvPr id="43" name="Rectangle 42"/>
          <p:cNvSpPr/>
          <p:nvPr/>
        </p:nvSpPr>
        <p:spPr>
          <a:xfrm>
            <a:off x="6720826" y="1785288"/>
            <a:ext cx="2401550" cy="3809431"/>
          </a:xfrm>
          <a:prstGeom prst="rect">
            <a:avLst/>
          </a:prstGeom>
          <a:no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lIns="139879" rtlCol="0" anchor="ctr">
            <a:noAutofit/>
          </a:bodyPr>
          <a:lstStyle/>
          <a:p>
            <a:pPr>
              <a:spcBef>
                <a:spcPts val="459"/>
              </a:spcBef>
            </a:pPr>
            <a:r>
              <a:rPr lang="en-IN" sz="1683" dirty="0">
                <a:solidFill>
                  <a:schemeClr val="tx1"/>
                </a:solidFill>
              </a:rPr>
              <a:t>Create features that capture degradation over time.</a:t>
            </a:r>
          </a:p>
        </p:txBody>
      </p:sp>
      <p:sp>
        <p:nvSpPr>
          <p:cNvPr id="14" name="Rectangle 13"/>
          <p:cNvSpPr/>
          <p:nvPr/>
        </p:nvSpPr>
        <p:spPr>
          <a:xfrm>
            <a:off x="335039" y="1785288"/>
            <a:ext cx="6299043" cy="1213749"/>
          </a:xfrm>
          <a:prstGeom prst="rect">
            <a:avLst/>
          </a:prstGeom>
          <a:no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lIns="139879" rtlCol="0" anchor="ctr">
            <a:noAutofit/>
          </a:bodyPr>
          <a:lstStyle/>
          <a:p>
            <a:pPr>
              <a:spcBef>
                <a:spcPts val="459"/>
              </a:spcBef>
            </a:pPr>
            <a:r>
              <a:rPr lang="en-IN" sz="1836" dirty="0">
                <a:solidFill>
                  <a:schemeClr val="tx1">
                    <a:lumMod val="75000"/>
                    <a:lumOff val="25000"/>
                  </a:schemeClr>
                </a:solidFill>
              </a:rPr>
              <a:t>1- Rolling aggregates: </a:t>
            </a:r>
          </a:p>
          <a:p>
            <a:pPr>
              <a:spcBef>
                <a:spcPts val="459"/>
              </a:spcBef>
            </a:pPr>
            <a:r>
              <a:rPr lang="en-IN" sz="1200" dirty="0">
                <a:solidFill>
                  <a:schemeClr val="tx1">
                    <a:lumMod val="75000"/>
                    <a:lumOff val="25000"/>
                  </a:schemeClr>
                </a:solidFill>
              </a:rPr>
              <a:t>For each labelled record of an asset, pick a rolling window of size w,  compute rolling aggregate features for the periods before the labelling date and time of that record.  </a:t>
            </a:r>
          </a:p>
        </p:txBody>
      </p:sp>
      <p:sp>
        <p:nvSpPr>
          <p:cNvPr id="15" name="Rectangle 14"/>
          <p:cNvSpPr/>
          <p:nvPr/>
        </p:nvSpPr>
        <p:spPr>
          <a:xfrm>
            <a:off x="335038" y="1785288"/>
            <a:ext cx="34970" cy="1216944"/>
          </a:xfrm>
          <a:prstGeom prst="rect">
            <a:avLst/>
          </a:prstGeom>
          <a:solidFill>
            <a:schemeClr val="tx2"/>
          </a:solidFill>
          <a:ln w="3175">
            <a:solidFill>
              <a:schemeClr val="tx2"/>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IN" sz="2448" dirty="0">
              <a:solidFill>
                <a:schemeClr val="tx1">
                  <a:lumMod val="75000"/>
                  <a:lumOff val="25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156874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74638" y="1115066"/>
            <a:ext cx="8777287" cy="688220"/>
          </a:xfrm>
        </p:spPr>
        <p:txBody>
          <a:bodyPr/>
          <a:lstStyle/>
          <a:p>
            <a:r>
              <a:rPr lang="en-US" dirty="0"/>
              <a:t>Azure ML</a:t>
            </a:r>
          </a:p>
        </p:txBody>
      </p:sp>
      <p:sp>
        <p:nvSpPr>
          <p:cNvPr id="6" name="Text Placeholder 5"/>
          <p:cNvSpPr>
            <a:spLocks noGrp="1"/>
          </p:cNvSpPr>
          <p:nvPr>
            <p:ph type="body" sz="quarter" idx="10"/>
          </p:nvPr>
        </p:nvSpPr>
        <p:spPr>
          <a:xfrm>
            <a:off x="274638" y="1803285"/>
            <a:ext cx="8777287" cy="646139"/>
          </a:xfrm>
        </p:spPr>
        <p:txBody>
          <a:bodyPr/>
          <a:lstStyle/>
          <a:p>
            <a:pPr lvl="1"/>
            <a:endParaRPr lang="en-US" sz="1836" dirty="0"/>
          </a:p>
          <a:p>
            <a:pPr lvl="1"/>
            <a:endParaRPr lang="en-US" sz="1224" dirty="0"/>
          </a:p>
        </p:txBody>
      </p:sp>
      <p:pic>
        <p:nvPicPr>
          <p:cNvPr id="2" name="Picture 1"/>
          <p:cNvPicPr>
            <a:picLocks noChangeAspect="1"/>
          </p:cNvPicPr>
          <p:nvPr/>
        </p:nvPicPr>
        <p:blipFill>
          <a:blip r:embed="rId3"/>
          <a:stretch>
            <a:fillRect/>
          </a:stretch>
        </p:blipFill>
        <p:spPr>
          <a:xfrm>
            <a:off x="914003" y="1803286"/>
            <a:ext cx="7052609" cy="4186422"/>
          </a:xfrm>
          <a:prstGeom prst="rect">
            <a:avLst/>
          </a:prstGeom>
        </p:spPr>
      </p:pic>
    </p:spTree>
    <p:extLst>
      <p:ext uri="{BB962C8B-B14F-4D97-AF65-F5344CB8AC3E}">
        <p14:creationId xmlns:p14="http://schemas.microsoft.com/office/powerpoint/2010/main" val="2719012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16029" y="2125779"/>
            <a:ext cx="8914641" cy="4281172"/>
          </a:xfrm>
        </p:spPr>
        <p:txBody>
          <a:bodyPr/>
          <a:lstStyle/>
          <a:p>
            <a:pPr>
              <a:spcBef>
                <a:spcPts val="2250"/>
              </a:spcBef>
            </a:pPr>
            <a:r>
              <a:rPr lang="en-US" sz="2100" dirty="0"/>
              <a:t>Learners are biased toward the majority class</a:t>
            </a:r>
          </a:p>
          <a:p>
            <a:pPr>
              <a:spcBef>
                <a:spcPts val="2250"/>
              </a:spcBef>
            </a:pPr>
            <a:r>
              <a:rPr lang="en-US" sz="2100" dirty="0"/>
              <a:t>Minority class tends to be misclassified</a:t>
            </a:r>
          </a:p>
          <a:p>
            <a:pPr>
              <a:spcBef>
                <a:spcPts val="2250"/>
              </a:spcBef>
            </a:pPr>
            <a:r>
              <a:rPr lang="en-US" sz="2100" dirty="0"/>
              <a:t>Solution:  Smart oversampling of the minority class with random </a:t>
            </a:r>
            <a:r>
              <a:rPr lang="en-US" sz="2100" dirty="0" err="1"/>
              <a:t>undersampling</a:t>
            </a:r>
            <a:r>
              <a:rPr lang="en-US" sz="2100" dirty="0"/>
              <a:t> of the majority class </a:t>
            </a:r>
          </a:p>
          <a:p>
            <a:pPr>
              <a:spcBef>
                <a:spcPts val="2250"/>
              </a:spcBef>
            </a:pPr>
            <a:r>
              <a:rPr lang="en-US" sz="2100" dirty="0"/>
              <a:t>SMOTE:  Synthetic Minority Oversampling Technique</a:t>
            </a:r>
          </a:p>
          <a:p>
            <a:pPr>
              <a:spcBef>
                <a:spcPts val="2250"/>
              </a:spcBef>
            </a:pPr>
            <a:r>
              <a:rPr lang="en-US" sz="2100" dirty="0"/>
              <a:t>Examples:</a:t>
            </a:r>
          </a:p>
          <a:p>
            <a:pPr>
              <a:spcBef>
                <a:spcPts val="2250"/>
              </a:spcBef>
            </a:pPr>
            <a:r>
              <a:rPr lang="en-US" sz="2100" dirty="0"/>
              <a:t>	failure detection</a:t>
            </a:r>
          </a:p>
          <a:p>
            <a:pPr>
              <a:spcBef>
                <a:spcPts val="2250"/>
              </a:spcBef>
            </a:pPr>
            <a:r>
              <a:rPr lang="en-US" sz="2100" dirty="0"/>
              <a:t>	fraud analysis</a:t>
            </a:r>
          </a:p>
        </p:txBody>
      </p:sp>
      <p:sp>
        <p:nvSpPr>
          <p:cNvPr id="2" name="TextBox 1"/>
          <p:cNvSpPr txBox="1"/>
          <p:nvPr/>
        </p:nvSpPr>
        <p:spPr>
          <a:xfrm>
            <a:off x="91281" y="0"/>
            <a:ext cx="1044197" cy="738664"/>
          </a:xfrm>
          <a:prstGeom prst="rect">
            <a:avLst/>
          </a:prstGeom>
          <a:noFill/>
        </p:spPr>
        <p:txBody>
          <a:bodyPr wrap="none" lIns="182880" tIns="146304" rIns="182880" bIns="146304" rtlCol="0">
            <a:spAutoFit/>
          </a:bodyPr>
          <a:lstStyle/>
          <a:p>
            <a:pPr>
              <a:lnSpc>
                <a:spcPct val="90000"/>
              </a:lnSpc>
              <a:spcAft>
                <a:spcPts val="600"/>
              </a:spcAft>
            </a:pPr>
            <a:r>
              <a:rPr lang="en-US" sz="3200">
                <a:gradFill>
                  <a:gsLst>
                    <a:gs pos="2917">
                      <a:schemeClr val="tx1"/>
                    </a:gs>
                    <a:gs pos="30000">
                      <a:schemeClr val="tx1"/>
                    </a:gs>
                  </a:gsLst>
                  <a:lin ang="5400000" scaled="0"/>
                </a:gradFill>
              </a:rPr>
              <a:t>Bias</a:t>
            </a:r>
            <a:endParaRPr lang="en-US" sz="32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592369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16029" y="2125779"/>
            <a:ext cx="8914641" cy="3404522"/>
          </a:xfrm>
        </p:spPr>
        <p:txBody>
          <a:bodyPr/>
          <a:lstStyle/>
          <a:p>
            <a:pPr>
              <a:spcBef>
                <a:spcPts val="2250"/>
              </a:spcBef>
            </a:pPr>
            <a:r>
              <a:rPr lang="en-US" sz="2100" dirty="0"/>
              <a:t>CRAN</a:t>
            </a:r>
          </a:p>
          <a:p>
            <a:pPr>
              <a:spcBef>
                <a:spcPts val="2250"/>
              </a:spcBef>
            </a:pPr>
            <a:r>
              <a:rPr lang="en-US" sz="2100" dirty="0"/>
              <a:t>Learn to love trial and error</a:t>
            </a:r>
          </a:p>
          <a:p>
            <a:pPr>
              <a:spcBef>
                <a:spcPts val="2250"/>
              </a:spcBef>
            </a:pPr>
            <a:r>
              <a:rPr lang="en-US" sz="2100" dirty="0"/>
              <a:t>Learn to iterate QUICKLY</a:t>
            </a:r>
          </a:p>
          <a:p>
            <a:pPr>
              <a:spcBef>
                <a:spcPts val="2250"/>
              </a:spcBef>
            </a:pPr>
            <a:r>
              <a:rPr lang="en-US" sz="2100" dirty="0"/>
              <a:t>Study probability and statistics</a:t>
            </a:r>
          </a:p>
          <a:p>
            <a:pPr>
              <a:spcBef>
                <a:spcPts val="2250"/>
              </a:spcBef>
            </a:pPr>
            <a:r>
              <a:rPr lang="en-US" sz="2100" dirty="0"/>
              <a:t>Never stop learning your domain</a:t>
            </a:r>
          </a:p>
          <a:p>
            <a:pPr>
              <a:spcBef>
                <a:spcPts val="2250"/>
              </a:spcBef>
            </a:pPr>
            <a:r>
              <a:rPr lang="en-US" sz="2100" dirty="0"/>
              <a:t>Don’t go right to R or AML, visual your data and profile it first.  Learn your data.</a:t>
            </a:r>
          </a:p>
        </p:txBody>
      </p:sp>
      <p:sp>
        <p:nvSpPr>
          <p:cNvPr id="3" name="Title 1"/>
          <p:cNvSpPr>
            <a:spLocks noGrp="1"/>
          </p:cNvSpPr>
          <p:nvPr>
            <p:ph type="title"/>
          </p:nvPr>
        </p:nvSpPr>
        <p:spPr>
          <a:xfrm>
            <a:off x="205962" y="295275"/>
            <a:ext cx="8916415" cy="917575"/>
          </a:xfrm>
        </p:spPr>
        <p:txBody>
          <a:bodyPr/>
          <a:lstStyle/>
          <a:p>
            <a:r>
              <a:rPr lang="en-US" dirty="0"/>
              <a:t>Closing Thoughts on Maintaining a Toolbox of Tricks</a:t>
            </a:r>
          </a:p>
        </p:txBody>
      </p:sp>
    </p:spTree>
    <p:extLst>
      <p:ext uri="{BB962C8B-B14F-4D97-AF65-F5344CB8AC3E}">
        <p14:creationId xmlns:p14="http://schemas.microsoft.com/office/powerpoint/2010/main" val="11337651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ution!</a:t>
            </a:r>
          </a:p>
        </p:txBody>
      </p:sp>
      <p:sp>
        <p:nvSpPr>
          <p:cNvPr id="3" name="Text Placeholder 2"/>
          <p:cNvSpPr>
            <a:spLocks noGrp="1"/>
          </p:cNvSpPr>
          <p:nvPr>
            <p:ph type="body" sz="quarter" idx="10"/>
          </p:nvPr>
        </p:nvSpPr>
        <p:spPr>
          <a:xfrm>
            <a:off x="205962" y="1784099"/>
            <a:ext cx="8400334" cy="1107996"/>
          </a:xfrm>
        </p:spPr>
        <p:txBody>
          <a:bodyPr/>
          <a:lstStyle/>
          <a:p>
            <a:r>
              <a:rPr lang="en-US" dirty="0"/>
              <a:t>Machine learning can’t tell what caused what.</a:t>
            </a:r>
          </a:p>
          <a:p>
            <a:endParaRPr lang="en-US" dirty="0"/>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20" y="2411505"/>
            <a:ext cx="9363727" cy="4583020"/>
          </a:xfrm>
          <a:prstGeom prst="rect">
            <a:avLst/>
          </a:prstGeom>
        </p:spPr>
      </p:pic>
      <p:sp>
        <p:nvSpPr>
          <p:cNvPr id="6" name="TextBox 5"/>
          <p:cNvSpPr txBox="1"/>
          <p:nvPr/>
        </p:nvSpPr>
        <p:spPr>
          <a:xfrm>
            <a:off x="6206200" y="5668777"/>
            <a:ext cx="3154365" cy="367005"/>
          </a:xfrm>
          <a:prstGeom prst="rect">
            <a:avLst/>
          </a:prstGeom>
          <a:noFill/>
        </p:spPr>
        <p:txBody>
          <a:bodyPr wrap="none" lIns="137148" tIns="109719" rIns="137148" bIns="109719" rtlCol="0">
            <a:spAutoFit/>
          </a:bodyPr>
          <a:lstStyle/>
          <a:p>
            <a:pPr defTabSz="685709">
              <a:lnSpc>
                <a:spcPct val="90000"/>
              </a:lnSpc>
              <a:spcAft>
                <a:spcPts val="450"/>
              </a:spcAft>
              <a:defRPr/>
            </a:pPr>
            <a:r>
              <a:rPr lang="en-US" sz="1050" kern="0" dirty="0">
                <a:solidFill>
                  <a:srgbClr val="BAD80A"/>
                </a:solidFill>
                <a:latin typeface="Segoe UI"/>
              </a:rPr>
              <a:t>http://www.tylervigen.com/spurious-correlations</a:t>
            </a:r>
          </a:p>
        </p:txBody>
      </p:sp>
    </p:spTree>
    <p:extLst>
      <p:ext uri="{BB962C8B-B14F-4D97-AF65-F5344CB8AC3E}">
        <p14:creationId xmlns:p14="http://schemas.microsoft.com/office/powerpoint/2010/main" val="37443915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txBox="1">
            <a:spLocks/>
          </p:cNvSpPr>
          <p:nvPr/>
        </p:nvSpPr>
        <p:spPr>
          <a:xfrm>
            <a:off x="205962" y="1095976"/>
            <a:ext cx="8916414" cy="688123"/>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699354">
              <a:defRPr/>
            </a:pPr>
            <a:r>
              <a:rPr lang="en-US" sz="3600" dirty="0">
                <a:solidFill>
                  <a:srgbClr val="505050"/>
                </a:solidFill>
                <a:latin typeface="Segoe UI Light" panose="020B0502040204020203" pitchFamily="34" charset="0"/>
                <a:cs typeface="Segoe UI Light" panose="020B0502040204020203" pitchFamily="34" charset="0"/>
              </a:rPr>
              <a:t>Model Evaluation</a:t>
            </a:r>
          </a:p>
        </p:txBody>
      </p:sp>
      <p:pic>
        <p:nvPicPr>
          <p:cNvPr id="5" name="Picture 4"/>
          <p:cNvPicPr>
            <a:picLocks noChangeAspect="1"/>
          </p:cNvPicPr>
          <p:nvPr/>
        </p:nvPicPr>
        <p:blipFill>
          <a:blip r:embed="rId3"/>
          <a:stretch>
            <a:fillRect/>
          </a:stretch>
        </p:blipFill>
        <p:spPr>
          <a:xfrm>
            <a:off x="2377281" y="3443587"/>
            <a:ext cx="4593040" cy="3528712"/>
          </a:xfrm>
          <a:prstGeom prst="rect">
            <a:avLst/>
          </a:prstGeom>
        </p:spPr>
      </p:pic>
      <p:sp>
        <p:nvSpPr>
          <p:cNvPr id="7" name="TextBox 6"/>
          <p:cNvSpPr txBox="1"/>
          <p:nvPr/>
        </p:nvSpPr>
        <p:spPr>
          <a:xfrm>
            <a:off x="3968772" y="4412654"/>
            <a:ext cx="1881581" cy="907025"/>
          </a:xfrm>
          <a:prstGeom prst="rect">
            <a:avLst/>
          </a:prstGeom>
          <a:noFill/>
        </p:spPr>
        <p:txBody>
          <a:bodyPr wrap="none" lIns="137148" tIns="109719" rIns="137148" bIns="109719" rtlCol="0">
            <a:spAutoFit/>
          </a:bodyPr>
          <a:lstStyle/>
          <a:p>
            <a:pPr defTabSz="685709">
              <a:lnSpc>
                <a:spcPct val="90000"/>
              </a:lnSpc>
              <a:spcAft>
                <a:spcPts val="450"/>
              </a:spcAft>
              <a:defRPr/>
            </a:pPr>
            <a:r>
              <a:rPr lang="en-US" sz="4949" b="1" kern="0" dirty="0">
                <a:solidFill>
                  <a:srgbClr val="0033CC"/>
                </a:solidFill>
                <a:latin typeface="Segoe UI"/>
              </a:rPr>
              <a:t>recall</a:t>
            </a:r>
          </a:p>
        </p:txBody>
      </p:sp>
      <p:sp>
        <p:nvSpPr>
          <p:cNvPr id="8" name="TextBox 7"/>
          <p:cNvSpPr txBox="1"/>
          <p:nvPr/>
        </p:nvSpPr>
        <p:spPr>
          <a:xfrm>
            <a:off x="3020163" y="5271714"/>
            <a:ext cx="3082230" cy="969350"/>
          </a:xfrm>
          <a:prstGeom prst="rect">
            <a:avLst/>
          </a:prstGeom>
          <a:noFill/>
        </p:spPr>
        <p:txBody>
          <a:bodyPr wrap="none" lIns="137148" tIns="109719" rIns="137148" bIns="109719" rtlCol="0">
            <a:spAutoFit/>
          </a:bodyPr>
          <a:lstStyle/>
          <a:p>
            <a:pPr defTabSz="685709">
              <a:lnSpc>
                <a:spcPct val="90000"/>
              </a:lnSpc>
              <a:spcAft>
                <a:spcPts val="450"/>
              </a:spcAft>
              <a:defRPr/>
            </a:pPr>
            <a:r>
              <a:rPr lang="en-US" sz="5399" b="1" kern="0" dirty="0">
                <a:solidFill>
                  <a:srgbClr val="0033CC"/>
                </a:solidFill>
                <a:latin typeface="Segoe UI"/>
              </a:rPr>
              <a:t>accuracy</a:t>
            </a:r>
          </a:p>
        </p:txBody>
      </p:sp>
      <p:sp>
        <p:nvSpPr>
          <p:cNvPr id="9" name="TextBox 8"/>
          <p:cNvSpPr txBox="1"/>
          <p:nvPr/>
        </p:nvSpPr>
        <p:spPr>
          <a:xfrm>
            <a:off x="2777296" y="5957973"/>
            <a:ext cx="2986050" cy="907025"/>
          </a:xfrm>
          <a:prstGeom prst="rect">
            <a:avLst/>
          </a:prstGeom>
          <a:noFill/>
        </p:spPr>
        <p:txBody>
          <a:bodyPr wrap="none" lIns="137148" tIns="109719" rIns="137148" bIns="109719" rtlCol="0">
            <a:spAutoFit/>
          </a:bodyPr>
          <a:lstStyle/>
          <a:p>
            <a:pPr defTabSz="685709">
              <a:lnSpc>
                <a:spcPct val="90000"/>
              </a:lnSpc>
              <a:spcAft>
                <a:spcPts val="450"/>
              </a:spcAft>
              <a:defRPr/>
            </a:pPr>
            <a:r>
              <a:rPr lang="en-US" sz="4949" b="1" kern="0" dirty="0">
                <a:solidFill>
                  <a:srgbClr val="0033CC"/>
                </a:solidFill>
                <a:latin typeface="Segoe UI"/>
              </a:rPr>
              <a:t>precision</a:t>
            </a:r>
          </a:p>
        </p:txBody>
      </p:sp>
    </p:spTree>
    <p:extLst>
      <p:ext uri="{BB962C8B-B14F-4D97-AF65-F5344CB8AC3E}">
        <p14:creationId xmlns:p14="http://schemas.microsoft.com/office/powerpoint/2010/main" val="200939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grpId="1" nodeType="clickEffect">
                                  <p:stCondLst>
                                    <p:cond delay="0"/>
                                  </p:stCondLst>
                                  <p:childTnLst>
                                    <p:set>
                                      <p:cBhvr>
                                        <p:cTn id="13" dur="1" fill="hold">
                                          <p:stCondLst>
                                            <p:cond delay="0"/>
                                          </p:stCondLst>
                                        </p:cTn>
                                        <p:tgtEl>
                                          <p:spTgt spid="8"/>
                                        </p:tgtEl>
                                        <p:attrNameLst>
                                          <p:attrName>style.visibility</p:attrName>
                                        </p:attrNameLst>
                                      </p:cBhvr>
                                      <p:to>
                                        <p:strVal val="hidden"/>
                                      </p:to>
                                    </p:set>
                                  </p:childTnLst>
                                </p:cTn>
                              </p:par>
                            </p:childTnLst>
                          </p:cTn>
                        </p:par>
                        <p:par>
                          <p:cTn id="14" fill="hold">
                            <p:stCondLst>
                              <p:cond delay="0"/>
                            </p:stCondLst>
                            <p:childTnLst>
                              <p:par>
                                <p:cTn id="15" presetID="53" presetClass="entr" presetSubtype="16"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500" fill="hold"/>
                                        <p:tgtEl>
                                          <p:spTgt spid="7"/>
                                        </p:tgtEl>
                                        <p:attrNameLst>
                                          <p:attrName>ppt_w</p:attrName>
                                        </p:attrNameLst>
                                      </p:cBhvr>
                                      <p:tavLst>
                                        <p:tav tm="0">
                                          <p:val>
                                            <p:fltVal val="0"/>
                                          </p:val>
                                        </p:tav>
                                        <p:tav tm="100000">
                                          <p:val>
                                            <p:strVal val="#ppt_w"/>
                                          </p:val>
                                        </p:tav>
                                      </p:tavLst>
                                    </p:anim>
                                    <p:anim calcmode="lin" valueType="num">
                                      <p:cBhvr>
                                        <p:cTn id="18" dur="500" fill="hold"/>
                                        <p:tgtEl>
                                          <p:spTgt spid="7"/>
                                        </p:tgtEl>
                                        <p:attrNameLst>
                                          <p:attrName>ppt_h</p:attrName>
                                        </p:attrNameLst>
                                      </p:cBhvr>
                                      <p:tavLst>
                                        <p:tav tm="0">
                                          <p:val>
                                            <p:fltVal val="0"/>
                                          </p:val>
                                        </p:tav>
                                        <p:tav tm="100000">
                                          <p:val>
                                            <p:strVal val="#ppt_h"/>
                                          </p:val>
                                        </p:tav>
                                      </p:tavLst>
                                    </p:anim>
                                    <p:animEffect transition="in" filter="fade">
                                      <p:cBhvr>
                                        <p:cTn id="19" dur="50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xit" presetSubtype="0" fill="hold" grpId="1" nodeType="clickEffect">
                                  <p:stCondLst>
                                    <p:cond delay="0"/>
                                  </p:stCondLst>
                                  <p:childTnLst>
                                    <p:set>
                                      <p:cBhvr>
                                        <p:cTn id="23" dur="1" fill="hold">
                                          <p:stCondLst>
                                            <p:cond delay="0"/>
                                          </p:stCondLst>
                                        </p:cTn>
                                        <p:tgtEl>
                                          <p:spTgt spid="7"/>
                                        </p:tgtEl>
                                        <p:attrNameLst>
                                          <p:attrName>style.visibility</p:attrName>
                                        </p:attrNameLst>
                                      </p:cBhvr>
                                      <p:to>
                                        <p:strVal val="hidden"/>
                                      </p:to>
                                    </p:set>
                                  </p:childTnLst>
                                </p:cTn>
                              </p:par>
                              <p:par>
                                <p:cTn id="24" presetID="53" presetClass="entr" presetSubtype="16"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grpId="1" nodeType="clickEffect">
                                  <p:stCondLst>
                                    <p:cond delay="0"/>
                                  </p:stCondLst>
                                  <p:childTnLst>
                                    <p:set>
                                      <p:cBhvr>
                                        <p:cTn id="32" dur="1" fill="hold">
                                          <p:stCondLst>
                                            <p:cond delay="0"/>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P spid="9" grpId="0"/>
      <p:bldP spid="9"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pPr algn="ctr"/>
            <a:r>
              <a:rPr lang="en-US" b="1" dirty="0"/>
              <a:t>Model evaluation</a:t>
            </a:r>
          </a:p>
        </p:txBody>
      </p:sp>
      <p:pic>
        <p:nvPicPr>
          <p:cNvPr id="16" name="Picture 1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49071" y="2182924"/>
            <a:ext cx="2499265" cy="2435992"/>
          </a:xfrm>
          <a:prstGeom prst="rect">
            <a:avLst/>
          </a:prstGeom>
        </p:spPr>
      </p:pic>
      <mc:AlternateContent xmlns:mc="http://schemas.openxmlformats.org/markup-compatibility/2006" xmlns:a14="http://schemas.microsoft.com/office/drawing/2010/main">
        <mc:Choice Requires="a14">
          <p:sp>
            <p:nvSpPr>
              <p:cNvPr id="2" name="Rectangle 1"/>
              <p:cNvSpPr/>
              <p:nvPr/>
            </p:nvSpPr>
            <p:spPr>
              <a:xfrm>
                <a:off x="96431" y="1540241"/>
                <a:ext cx="6343110" cy="1881925"/>
              </a:xfrm>
              <a:prstGeom prst="rect">
                <a:avLst/>
              </a:prstGeom>
            </p:spPr>
            <p:txBody>
              <a:bodyPr wrap="square">
                <a:spAutoFit/>
              </a:bodyPr>
              <a:lstStyle/>
              <a:p>
                <a:pPr defTabSz="685709">
                  <a:lnSpc>
                    <a:spcPct val="107000"/>
                  </a:lnSpc>
                  <a:spcAft>
                    <a:spcPts val="600"/>
                  </a:spcAft>
                  <a:defRPr/>
                </a:pPr>
                <a14:m>
                  <m:oMath xmlns:m="http://schemas.openxmlformats.org/officeDocument/2006/math">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𝑃𝑜𝑝𝑢𝑙𝑎𝑡𝑖𝑜𝑛</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𝑆𝑖𝑧𝑒</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𝑛</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oMath>
                </a14:m>
                <a:r>
                  <a:rPr lang="en-US" kern="0" dirty="0">
                    <a:solidFill>
                      <a:srgbClr val="002050"/>
                    </a:solidFill>
                    <a:latin typeface="Calibri" panose="020F0502020204030204" pitchFamily="34" charset="0"/>
                    <a:ea typeface="Times New Roman" panose="02020603050405020304" pitchFamily="18" charset="0"/>
                    <a:cs typeface="Times New Roman" panose="02020603050405020304" pitchFamily="18" charset="0"/>
                  </a:rPr>
                  <a:t> </a:t>
                </a:r>
                <a:endParaRPr lang="en-US" kern="0" dirty="0">
                  <a:solidFill>
                    <a:srgbClr val="002050"/>
                  </a:solidFill>
                  <a:latin typeface="Calibri" panose="020F0502020204030204" pitchFamily="34" charset="0"/>
                  <a:ea typeface="Calibri" panose="020F0502020204030204" pitchFamily="34" charset="0"/>
                  <a:cs typeface="Times New Roman" panose="02020603050405020304" pitchFamily="18" charset="0"/>
                </a:endParaRPr>
              </a:p>
              <a:p>
                <a:pPr defTabSz="685709">
                  <a:lnSpc>
                    <a:spcPct val="107000"/>
                  </a:lnSpc>
                  <a:spcAft>
                    <a:spcPts val="600"/>
                  </a:spcAft>
                  <a:defRPr/>
                </a:pPr>
                <a14:m>
                  <m:oMath xmlns:m="http://schemas.openxmlformats.org/officeDocument/2006/math">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𝐹𝑟𝑎𝑐𝑡𝑖𝑜𝑛</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𝑜𝑓</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𝑖𝑛𝑠𝑡𝑎𝑛𝑐𝑒𝑠</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𝑙𝑎𝑏𝑒𝑙𝑙𝑒𝑑</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𝑝𝑜𝑠𝑖𝑡𝑖𝑣𝑒</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𝑥</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oMath>
                </a14:m>
                <a:r>
                  <a:rPr lang="en-US" kern="0" dirty="0">
                    <a:solidFill>
                      <a:srgbClr val="002050"/>
                    </a:solidFill>
                    <a:latin typeface="Calibri" panose="020F0502020204030204" pitchFamily="34" charset="0"/>
                    <a:ea typeface="Times New Roman" panose="02020603050405020304" pitchFamily="18" charset="0"/>
                    <a:cs typeface="Times New Roman" panose="02020603050405020304" pitchFamily="18" charset="0"/>
                  </a:rPr>
                  <a:t> </a:t>
                </a:r>
                <a:endParaRPr lang="en-US" kern="0" dirty="0">
                  <a:solidFill>
                    <a:srgbClr val="002050"/>
                  </a:solidFill>
                  <a:latin typeface="Calibri" panose="020F0502020204030204" pitchFamily="34" charset="0"/>
                  <a:ea typeface="Calibri" panose="020F0502020204030204" pitchFamily="34" charset="0"/>
                  <a:cs typeface="Times New Roman" panose="02020603050405020304" pitchFamily="18" charset="0"/>
                </a:endParaRPr>
              </a:p>
              <a:p>
                <a:pPr defTabSz="685709">
                  <a:lnSpc>
                    <a:spcPct val="107000"/>
                  </a:lnSpc>
                  <a:spcAft>
                    <a:spcPts val="600"/>
                  </a:spcAft>
                  <a:defRPr/>
                </a:pPr>
                <a14:m>
                  <m:oMath xmlns:m="http://schemas.openxmlformats.org/officeDocument/2006/math">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𝐹𝑟𝑎𝑐𝑡𝑖𝑜𝑛</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𝑜𝑓</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𝑖𝑛𝑠𝑡𝑎𝑛𝑐𝑒𝑠</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𝑙𝑎𝑏𝑒𝑙𝑙𝑒𝑑</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𝑛𝑒𝑔𝑎𝑡𝑖𝑣𝑒</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d>
                      <m:dPr>
                        <m:ctrlP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ctrlPr>
                      </m:dPr>
                      <m:e>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1−</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𝑥</m:t>
                        </m:r>
                      </m:e>
                    </m:d>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oMath>
                </a14:m>
                <a:r>
                  <a:rPr lang="en-US" kern="0" dirty="0">
                    <a:solidFill>
                      <a:srgbClr val="002050"/>
                    </a:solidFill>
                    <a:latin typeface="Calibri" panose="020F0502020204030204" pitchFamily="34" charset="0"/>
                    <a:ea typeface="Times New Roman" panose="02020603050405020304" pitchFamily="18" charset="0"/>
                    <a:cs typeface="Times New Roman" panose="02020603050405020304" pitchFamily="18" charset="0"/>
                  </a:rPr>
                  <a:t> </a:t>
                </a:r>
                <a:endParaRPr lang="en-US" kern="0" dirty="0">
                  <a:solidFill>
                    <a:srgbClr val="002050"/>
                  </a:solidFill>
                  <a:latin typeface="Calibri" panose="020F0502020204030204" pitchFamily="34" charset="0"/>
                  <a:ea typeface="Calibri" panose="020F0502020204030204" pitchFamily="34" charset="0"/>
                  <a:cs typeface="Times New Roman" panose="02020603050405020304" pitchFamily="18" charset="0"/>
                </a:endParaRPr>
              </a:p>
              <a:p>
                <a:pPr defTabSz="685709">
                  <a:lnSpc>
                    <a:spcPct val="107000"/>
                  </a:lnSpc>
                  <a:spcAft>
                    <a:spcPts val="600"/>
                  </a:spcAft>
                  <a:defRPr/>
                </a:pPr>
                <a14:m>
                  <m:oMath xmlns:m="http://schemas.openxmlformats.org/officeDocument/2006/math">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𝑁𝑢𝑚𝑏𝑒𝑟</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𝑜𝑓</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𝑖𝑛𝑠𝑡𝑎𝑛𝑐𝑒𝑠</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𝑙𝑎𝑏𝑒𝑙𝑙𝑒𝑑</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𝑝𝑜𝑠𝑖𝑡𝑖𝑣𝑒</m:t>
                    </m:r>
                    <m:d>
                      <m:dPr>
                        <m:ctrlP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ctrlPr>
                      </m:dPr>
                      <m:e>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𝑃</m:t>
                        </m:r>
                      </m:e>
                    </m:d>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𝑥𝑛</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oMath>
                </a14:m>
                <a:r>
                  <a:rPr lang="en-US" kern="0" dirty="0">
                    <a:solidFill>
                      <a:srgbClr val="002050"/>
                    </a:solidFill>
                    <a:latin typeface="Calibri" panose="020F0502020204030204" pitchFamily="34" charset="0"/>
                    <a:ea typeface="Times New Roman" panose="02020603050405020304" pitchFamily="18" charset="0"/>
                    <a:cs typeface="Times New Roman" panose="02020603050405020304" pitchFamily="18" charset="0"/>
                  </a:rPr>
                  <a:t> </a:t>
                </a:r>
                <a:endParaRPr lang="en-US" kern="0" dirty="0">
                  <a:solidFill>
                    <a:srgbClr val="002050"/>
                  </a:solidFill>
                  <a:latin typeface="Calibri" panose="020F0502020204030204" pitchFamily="34" charset="0"/>
                  <a:ea typeface="Calibri" panose="020F0502020204030204" pitchFamily="34" charset="0"/>
                  <a:cs typeface="Times New Roman" panose="02020603050405020304" pitchFamily="18" charset="0"/>
                </a:endParaRPr>
              </a:p>
              <a:p>
                <a:pPr defTabSz="685709">
                  <a:lnSpc>
                    <a:spcPct val="107000"/>
                  </a:lnSpc>
                  <a:spcAft>
                    <a:spcPts val="600"/>
                  </a:spcAft>
                  <a:defRPr/>
                </a:pPr>
                <a14:m>
                  <m:oMath xmlns:m="http://schemas.openxmlformats.org/officeDocument/2006/math">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𝑁𝑢𝑚𝑏𝑒𝑟</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𝑜𝑓</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𝑖𝑛𝑠𝑡𝑎𝑛𝑐𝑒𝑠</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𝑙𝑎𝑏𝑒𝑙𝑙𝑒𝑑</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𝑛𝑒𝑔𝑎𝑡𝑖𝑣𝑒</m:t>
                    </m:r>
                    <m:d>
                      <m:dPr>
                        <m:ctrlP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ctrlPr>
                      </m:dPr>
                      <m:e>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𝑁</m:t>
                        </m:r>
                      </m:e>
                    </m:d>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d>
                      <m:dPr>
                        <m:ctrlP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ctrlPr>
                      </m:dPr>
                      <m:e>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1−</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𝑥</m:t>
                        </m:r>
                      </m:e>
                    </m:d>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𝑛</m:t>
                    </m:r>
                    <m:r>
                      <a:rPr lang="en-US"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oMath>
                </a14:m>
                <a:r>
                  <a:rPr lang="en-US" kern="0" dirty="0">
                    <a:solidFill>
                      <a:srgbClr val="002050"/>
                    </a:solidFill>
                    <a:latin typeface="Calibri" panose="020F0502020204030204" pitchFamily="34" charset="0"/>
                    <a:ea typeface="Times New Roman" panose="02020603050405020304" pitchFamily="18" charset="0"/>
                    <a:cs typeface="Times New Roman" panose="02020603050405020304" pitchFamily="18" charset="0"/>
                  </a:rPr>
                  <a:t> </a:t>
                </a:r>
                <a:endParaRPr lang="en-US" kern="0" dirty="0">
                  <a:solidFill>
                    <a:srgbClr val="002050"/>
                  </a:solidFill>
                  <a:latin typeface="Calibri" panose="020F0502020204030204" pitchFamily="34" charset="0"/>
                  <a:ea typeface="Calibri" panose="020F0502020204030204" pitchFamily="34" charset="0"/>
                  <a:cs typeface="Times New Roman" panose="02020603050405020304" pitchFamily="18" charset="0"/>
                </a:endParaRPr>
              </a:p>
            </p:txBody>
          </p:sp>
        </mc:Choice>
        <mc:Fallback xmlns="">
          <p:sp>
            <p:nvSpPr>
              <p:cNvPr id="2" name="Rectangle 1"/>
              <p:cNvSpPr>
                <a:spLocks noRot="1" noChangeAspect="1" noMove="1" noResize="1" noEditPoints="1" noAdjustHandles="1" noChangeArrowheads="1" noChangeShapeType="1" noTextEdit="1"/>
              </p:cNvSpPr>
              <p:nvPr/>
            </p:nvSpPr>
            <p:spPr>
              <a:xfrm>
                <a:off x="96431" y="1540241"/>
                <a:ext cx="6343110" cy="1881925"/>
              </a:xfrm>
              <a:prstGeom prst="rect">
                <a:avLst/>
              </a:prstGeom>
              <a:blipFill>
                <a:blip r:embed="rId4"/>
                <a:stretch>
                  <a:fillRect l="-288" b="-129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Rectangle 3"/>
              <p:cNvSpPr/>
              <p:nvPr/>
            </p:nvSpPr>
            <p:spPr>
              <a:xfrm>
                <a:off x="1097463" y="3413683"/>
                <a:ext cx="1877630" cy="481286"/>
              </a:xfrm>
              <a:prstGeom prst="rect">
                <a:avLst/>
              </a:prstGeom>
            </p:spPr>
            <p:txBody>
              <a:bodyPr wrap="none">
                <a:spAutoFit/>
              </a:bodyPr>
              <a:lstStyle/>
              <a:p>
                <a:pPr defTabSz="685709">
                  <a:defRPr/>
                </a:pPr>
                <a14:m>
                  <m:oMathPara xmlns:m="http://schemas.openxmlformats.org/officeDocument/2006/math">
                    <m:oMathParaPr>
                      <m:jc m:val="centerGroup"/>
                    </m:oMathParaPr>
                    <m:oMath xmlns:m="http://schemas.openxmlformats.org/officeDocument/2006/math">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𝐴𝑐𝑐𝑢𝑟𝑎𝑐𝑦</m:t>
                      </m:r>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 </m:t>
                      </m:r>
                      <m:f>
                        <m:fPr>
                          <m:ctrlP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ctrlPr>
                        </m:fPr>
                        <m:num>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𝑇𝑃</m:t>
                          </m:r>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m:t>
                          </m:r>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𝑇𝑁</m:t>
                          </m:r>
                        </m:num>
                        <m:den>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𝑛</m:t>
                          </m:r>
                        </m:den>
                      </m:f>
                    </m:oMath>
                  </m:oMathPara>
                </a14:m>
                <a:endParaRPr lang="en-US" sz="1350" kern="0" dirty="0">
                  <a:solidFill>
                    <a:srgbClr val="002050"/>
                  </a:solidFill>
                  <a:latin typeface="Segoe UI"/>
                </a:endParaRPr>
              </a:p>
            </p:txBody>
          </p:sp>
        </mc:Choice>
        <mc:Fallback xmlns="">
          <p:sp>
            <p:nvSpPr>
              <p:cNvPr id="4" name="Rectangle 3"/>
              <p:cNvSpPr>
                <a:spLocks noRot="1" noChangeAspect="1" noMove="1" noResize="1" noEditPoints="1" noAdjustHandles="1" noChangeArrowheads="1" noChangeShapeType="1" noTextEdit="1"/>
              </p:cNvSpPr>
              <p:nvPr/>
            </p:nvSpPr>
            <p:spPr>
              <a:xfrm>
                <a:off x="1097463" y="3413683"/>
                <a:ext cx="1877630" cy="481286"/>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Rectangle 5"/>
              <p:cNvSpPr/>
              <p:nvPr/>
            </p:nvSpPr>
            <p:spPr>
              <a:xfrm>
                <a:off x="1328783" y="3878379"/>
                <a:ext cx="1642950" cy="484748"/>
              </a:xfrm>
              <a:prstGeom prst="rect">
                <a:avLst/>
              </a:prstGeom>
            </p:spPr>
            <p:txBody>
              <a:bodyPr wrap="none">
                <a:spAutoFit/>
              </a:bodyPr>
              <a:lstStyle/>
              <a:p>
                <a:pPr defTabSz="685709">
                  <a:defRPr/>
                </a:pPr>
                <a14:m>
                  <m:oMathPara xmlns:m="http://schemas.openxmlformats.org/officeDocument/2006/math">
                    <m:oMathParaPr>
                      <m:jc m:val="centerGroup"/>
                    </m:oMathParaPr>
                    <m:oMath xmlns:m="http://schemas.openxmlformats.org/officeDocument/2006/math">
                      <m:r>
                        <a:rPr lang="en-US" sz="1350" i="1" kern="0">
                          <a:solidFill>
                            <a:srgbClr val="002050"/>
                          </a:solidFill>
                          <a:latin typeface="Cambria Math" panose="02040503050406030204" pitchFamily="18" charset="0"/>
                          <a:ea typeface="Times New Roman" panose="02020603050405020304" pitchFamily="18" charset="0"/>
                          <a:cs typeface="Times New Roman" panose="02020603050405020304" pitchFamily="18" charset="0"/>
                        </a:rPr>
                        <m:t>𝑅𝑒𝑐𝑎𝑙𝑙</m:t>
                      </m:r>
                      <m:r>
                        <a:rPr lang="en-US" sz="1350" i="1" kern="0">
                          <a:solidFill>
                            <a:srgbClr val="002050"/>
                          </a:solidFill>
                          <a:latin typeface="Cambria Math" panose="02040503050406030204" pitchFamily="18" charset="0"/>
                          <a:ea typeface="Times New Roman" panose="02020603050405020304" pitchFamily="18" charset="0"/>
                          <a:cs typeface="Times New Roman" panose="02020603050405020304" pitchFamily="18" charset="0"/>
                        </a:rPr>
                        <m:t>= </m:t>
                      </m:r>
                      <m:f>
                        <m:fPr>
                          <m:ctrlPr>
                            <a:rPr lang="en-US" sz="1350" i="1" kern="0">
                              <a:solidFill>
                                <a:srgbClr val="002050"/>
                              </a:solidFill>
                              <a:latin typeface="Cambria Math" panose="02040503050406030204" pitchFamily="18" charset="0"/>
                              <a:ea typeface="Times New Roman" panose="02020603050405020304" pitchFamily="18" charset="0"/>
                              <a:cs typeface="Times New Roman" panose="02020603050405020304" pitchFamily="18" charset="0"/>
                            </a:rPr>
                          </m:ctrlPr>
                        </m:fPr>
                        <m:num>
                          <m:r>
                            <a:rPr lang="en-US" sz="1350" i="1" kern="0">
                              <a:solidFill>
                                <a:srgbClr val="002050"/>
                              </a:solidFill>
                              <a:latin typeface="Cambria Math" panose="02040503050406030204" pitchFamily="18" charset="0"/>
                              <a:ea typeface="Times New Roman" panose="02020603050405020304" pitchFamily="18" charset="0"/>
                              <a:cs typeface="Times New Roman" panose="02020603050405020304" pitchFamily="18" charset="0"/>
                            </a:rPr>
                            <m:t>𝑇𝑃</m:t>
                          </m:r>
                        </m:num>
                        <m:den>
                          <m:r>
                            <a:rPr lang="en-US" sz="1350" i="1" kern="0">
                              <a:solidFill>
                                <a:srgbClr val="002050"/>
                              </a:solidFill>
                              <a:latin typeface="Cambria Math" panose="02040503050406030204" pitchFamily="18" charset="0"/>
                              <a:ea typeface="Times New Roman" panose="02020603050405020304" pitchFamily="18" charset="0"/>
                              <a:cs typeface="Times New Roman" panose="02020603050405020304" pitchFamily="18" charset="0"/>
                            </a:rPr>
                            <m:t>𝑇𝑃</m:t>
                          </m:r>
                          <m:r>
                            <a:rPr lang="en-US" sz="1350" i="1" kern="0">
                              <a:solidFill>
                                <a:srgbClr val="002050"/>
                              </a:solidFill>
                              <a:latin typeface="Cambria Math" panose="02040503050406030204" pitchFamily="18" charset="0"/>
                              <a:ea typeface="Times New Roman" panose="02020603050405020304" pitchFamily="18" charset="0"/>
                              <a:cs typeface="Times New Roman" panose="02020603050405020304" pitchFamily="18" charset="0"/>
                            </a:rPr>
                            <m:t>+</m:t>
                          </m:r>
                          <m:r>
                            <a:rPr lang="en-US" sz="1350" i="1" kern="0">
                              <a:solidFill>
                                <a:srgbClr val="002050"/>
                              </a:solidFill>
                              <a:latin typeface="Cambria Math" panose="02040503050406030204" pitchFamily="18" charset="0"/>
                              <a:ea typeface="Times New Roman" panose="02020603050405020304" pitchFamily="18" charset="0"/>
                              <a:cs typeface="Times New Roman" panose="02020603050405020304" pitchFamily="18" charset="0"/>
                            </a:rPr>
                            <m:t>𝐹𝑁</m:t>
                          </m:r>
                        </m:den>
                      </m:f>
                    </m:oMath>
                  </m:oMathPara>
                </a14:m>
                <a:endParaRPr lang="en-US" sz="1350" kern="0" dirty="0">
                  <a:solidFill>
                    <a:srgbClr val="002050"/>
                  </a:solidFill>
                  <a:latin typeface="Segoe UI"/>
                </a:endParaRPr>
              </a:p>
            </p:txBody>
          </p:sp>
        </mc:Choice>
        <mc:Fallback xmlns="">
          <p:sp>
            <p:nvSpPr>
              <p:cNvPr id="6" name="Rectangle 5"/>
              <p:cNvSpPr>
                <a:spLocks noRot="1" noChangeAspect="1" noMove="1" noResize="1" noEditPoints="1" noAdjustHandles="1" noChangeArrowheads="1" noChangeShapeType="1" noTextEdit="1"/>
              </p:cNvSpPr>
              <p:nvPr/>
            </p:nvSpPr>
            <p:spPr>
              <a:xfrm>
                <a:off x="1328783" y="3878379"/>
                <a:ext cx="1642950" cy="484748"/>
              </a:xfrm>
              <a:prstGeom prst="rect">
                <a:avLst/>
              </a:prstGeom>
              <a:blipFill>
                <a:blip r:embed="rId6"/>
                <a:stretch>
                  <a:fillRect b="-125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6"/>
              <p:cNvSpPr/>
              <p:nvPr/>
            </p:nvSpPr>
            <p:spPr>
              <a:xfrm>
                <a:off x="1097464" y="4343638"/>
                <a:ext cx="1837554" cy="484748"/>
              </a:xfrm>
              <a:prstGeom prst="rect">
                <a:avLst/>
              </a:prstGeom>
            </p:spPr>
            <p:txBody>
              <a:bodyPr wrap="none">
                <a:spAutoFit/>
              </a:bodyPr>
              <a:lstStyle/>
              <a:p>
                <a:pPr defTabSz="685709">
                  <a:defRPr/>
                </a:pPr>
                <a14:m>
                  <m:oMathPara xmlns:m="http://schemas.openxmlformats.org/officeDocument/2006/math">
                    <m:oMathParaPr>
                      <m:jc m:val="centerGroup"/>
                    </m:oMathParaPr>
                    <m:oMath xmlns:m="http://schemas.openxmlformats.org/officeDocument/2006/math">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𝑃𝑟𝑒𝑐𝑖𝑠𝑖𝑜𝑛</m:t>
                      </m:r>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m:t>
                      </m:r>
                      <m:f>
                        <m:fPr>
                          <m:ctrlPr>
                            <a:rPr lang="en-US" sz="1350" i="1" kern="0">
                              <a:solidFill>
                                <a:srgbClr val="002050"/>
                              </a:solidFill>
                              <a:latin typeface="Cambria Math" panose="02040503050406030204" pitchFamily="18" charset="0"/>
                            </a:rPr>
                          </m:ctrlPr>
                        </m:fPr>
                        <m:num>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𝑇𝑃</m:t>
                          </m:r>
                        </m:num>
                        <m:den>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𝑇𝑃</m:t>
                          </m:r>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m:t>
                          </m:r>
                          <m:r>
                            <a:rPr lang="en-US" sz="1350" i="1" kern="0">
                              <a:solidFill>
                                <a:srgbClr val="002050"/>
                              </a:solidFill>
                              <a:latin typeface="Cambria Math" panose="02040503050406030204" pitchFamily="18" charset="0"/>
                              <a:ea typeface="Calibri" panose="020F0502020204030204" pitchFamily="34" charset="0"/>
                              <a:cs typeface="Times New Roman" panose="02020603050405020304" pitchFamily="18" charset="0"/>
                            </a:rPr>
                            <m:t>𝐹𝑃</m:t>
                          </m:r>
                        </m:den>
                      </m:f>
                    </m:oMath>
                  </m:oMathPara>
                </a14:m>
                <a:endParaRPr lang="en-US" sz="1350" kern="0" dirty="0">
                  <a:solidFill>
                    <a:srgbClr val="002050"/>
                  </a:solidFill>
                  <a:latin typeface="Segoe UI"/>
                </a:endParaRPr>
              </a:p>
            </p:txBody>
          </p:sp>
        </mc:Choice>
        <mc:Fallback xmlns="">
          <p:sp>
            <p:nvSpPr>
              <p:cNvPr id="7" name="Rectangle 6"/>
              <p:cNvSpPr>
                <a:spLocks noRot="1" noChangeAspect="1" noMove="1" noResize="1" noEditPoints="1" noAdjustHandles="1" noChangeArrowheads="1" noChangeShapeType="1" noTextEdit="1"/>
              </p:cNvSpPr>
              <p:nvPr/>
            </p:nvSpPr>
            <p:spPr>
              <a:xfrm>
                <a:off x="1097464" y="4343638"/>
                <a:ext cx="1837554" cy="484748"/>
              </a:xfrm>
              <a:prstGeom prst="rect">
                <a:avLst/>
              </a:prstGeom>
              <a:blipFill>
                <a:blip r:embed="rId7"/>
                <a:stretch>
                  <a:fillRect b="-253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8"/>
              <p:cNvSpPr/>
              <p:nvPr/>
            </p:nvSpPr>
            <p:spPr>
              <a:xfrm>
                <a:off x="1516292" y="4818458"/>
                <a:ext cx="998671" cy="479940"/>
              </a:xfrm>
              <a:prstGeom prst="rect">
                <a:avLst/>
              </a:prstGeom>
            </p:spPr>
            <p:txBody>
              <a:bodyPr wrap="none">
                <a:spAutoFit/>
              </a:bodyPr>
              <a:lstStyle/>
              <a:p>
                <a:pPr defTabSz="685709">
                  <a:defRPr/>
                </a:pPr>
                <a14:m>
                  <m:oMathPara xmlns:m="http://schemas.openxmlformats.org/officeDocument/2006/math">
                    <m:oMathParaPr>
                      <m:jc m:val="centerGroup"/>
                    </m:oMathParaPr>
                    <m:oMath xmlns:m="http://schemas.openxmlformats.org/officeDocument/2006/math">
                      <m:r>
                        <a:rPr lang="en-US" sz="1350" i="1" kern="0">
                          <a:solidFill>
                            <a:srgbClr val="002050"/>
                          </a:solidFill>
                          <a:latin typeface="Cambria Math" panose="02040503050406030204" pitchFamily="18" charset="0"/>
                        </a:rPr>
                        <m:t>𝑇𝑃𝑅</m:t>
                      </m:r>
                      <m:r>
                        <a:rPr lang="en-US" sz="1350" i="1" kern="0">
                          <a:solidFill>
                            <a:srgbClr val="002050"/>
                          </a:solidFill>
                          <a:latin typeface="Cambria Math" panose="02040503050406030204" pitchFamily="18" charset="0"/>
                        </a:rPr>
                        <m:t>=</m:t>
                      </m:r>
                      <m:f>
                        <m:fPr>
                          <m:ctrlPr>
                            <a:rPr lang="en-US" sz="1350" i="1" kern="0">
                              <a:solidFill>
                                <a:srgbClr val="002050"/>
                              </a:solidFill>
                              <a:latin typeface="Cambria Math" panose="02040503050406030204" pitchFamily="18" charset="0"/>
                            </a:rPr>
                          </m:ctrlPr>
                        </m:fPr>
                        <m:num>
                          <m:r>
                            <a:rPr lang="en-US" sz="1350" i="1" kern="0">
                              <a:solidFill>
                                <a:srgbClr val="002050"/>
                              </a:solidFill>
                              <a:latin typeface="Cambria Math" panose="02040503050406030204" pitchFamily="18" charset="0"/>
                            </a:rPr>
                            <m:t>𝑇𝑃</m:t>
                          </m:r>
                        </m:num>
                        <m:den>
                          <m:r>
                            <a:rPr lang="en-US" sz="1350" i="1" kern="0">
                              <a:solidFill>
                                <a:srgbClr val="002050"/>
                              </a:solidFill>
                              <a:latin typeface="Cambria Math" panose="02040503050406030204" pitchFamily="18" charset="0"/>
                            </a:rPr>
                            <m:t>𝑃</m:t>
                          </m:r>
                        </m:den>
                      </m:f>
                    </m:oMath>
                  </m:oMathPara>
                </a14:m>
                <a:endParaRPr lang="en-US" sz="1350" kern="0" dirty="0">
                  <a:solidFill>
                    <a:srgbClr val="002050"/>
                  </a:solidFill>
                  <a:latin typeface="Segoe UI"/>
                </a:endParaRPr>
              </a:p>
            </p:txBody>
          </p:sp>
        </mc:Choice>
        <mc:Fallback xmlns="">
          <p:sp>
            <p:nvSpPr>
              <p:cNvPr id="9" name="Rectangle 8"/>
              <p:cNvSpPr>
                <a:spLocks noRot="1" noChangeAspect="1" noMove="1" noResize="1" noEditPoints="1" noAdjustHandles="1" noChangeArrowheads="1" noChangeShapeType="1" noTextEdit="1"/>
              </p:cNvSpPr>
              <p:nvPr/>
            </p:nvSpPr>
            <p:spPr>
              <a:xfrm>
                <a:off x="1516292" y="4818458"/>
                <a:ext cx="998671" cy="479940"/>
              </a:xfrm>
              <a:prstGeom prst="rect">
                <a:avLst/>
              </a:prstGeom>
              <a:blipFill>
                <a:blip r:embed="rId8"/>
                <a:stretch>
                  <a:fillRect b="-253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9"/>
              <p:cNvSpPr/>
              <p:nvPr/>
            </p:nvSpPr>
            <p:spPr>
              <a:xfrm>
                <a:off x="1516292" y="5262943"/>
                <a:ext cx="1043555" cy="479940"/>
              </a:xfrm>
              <a:prstGeom prst="rect">
                <a:avLst/>
              </a:prstGeom>
            </p:spPr>
            <p:txBody>
              <a:bodyPr wrap="none">
                <a:spAutoFit/>
              </a:bodyPr>
              <a:lstStyle/>
              <a:p>
                <a:pPr defTabSz="685709">
                  <a:defRPr/>
                </a:pPr>
                <a14:m>
                  <m:oMathPara xmlns:m="http://schemas.openxmlformats.org/officeDocument/2006/math">
                    <m:oMathParaPr>
                      <m:jc m:val="centerGroup"/>
                    </m:oMathParaPr>
                    <m:oMath xmlns:m="http://schemas.openxmlformats.org/officeDocument/2006/math">
                      <m:r>
                        <a:rPr lang="en-US" sz="1350" i="1" kern="0">
                          <a:solidFill>
                            <a:srgbClr val="002050"/>
                          </a:solidFill>
                          <a:latin typeface="Cambria Math" panose="02040503050406030204" pitchFamily="18" charset="0"/>
                        </a:rPr>
                        <m:t>𝐹𝑃𝑅</m:t>
                      </m:r>
                      <m:r>
                        <a:rPr lang="en-US" sz="1350" i="1" kern="0">
                          <a:solidFill>
                            <a:srgbClr val="002050"/>
                          </a:solidFill>
                          <a:latin typeface="Cambria Math" panose="02040503050406030204" pitchFamily="18" charset="0"/>
                        </a:rPr>
                        <m:t>= </m:t>
                      </m:r>
                      <m:f>
                        <m:fPr>
                          <m:ctrlPr>
                            <a:rPr lang="en-US" sz="1350" i="1" kern="0">
                              <a:solidFill>
                                <a:srgbClr val="002050"/>
                              </a:solidFill>
                              <a:latin typeface="Cambria Math" panose="02040503050406030204" pitchFamily="18" charset="0"/>
                            </a:rPr>
                          </m:ctrlPr>
                        </m:fPr>
                        <m:num>
                          <m:r>
                            <a:rPr lang="en-US" sz="1350" i="1" kern="0">
                              <a:solidFill>
                                <a:srgbClr val="002050"/>
                              </a:solidFill>
                              <a:latin typeface="Cambria Math" panose="02040503050406030204" pitchFamily="18" charset="0"/>
                            </a:rPr>
                            <m:t>𝐹𝑃</m:t>
                          </m:r>
                        </m:num>
                        <m:den>
                          <m:r>
                            <a:rPr lang="en-US" sz="1350" i="1" kern="0">
                              <a:solidFill>
                                <a:srgbClr val="002050"/>
                              </a:solidFill>
                              <a:latin typeface="Cambria Math" panose="02040503050406030204" pitchFamily="18" charset="0"/>
                            </a:rPr>
                            <m:t>𝑁</m:t>
                          </m:r>
                        </m:den>
                      </m:f>
                    </m:oMath>
                  </m:oMathPara>
                </a14:m>
                <a:endParaRPr lang="en-US" sz="1350" kern="0" dirty="0">
                  <a:solidFill>
                    <a:srgbClr val="002050"/>
                  </a:solidFill>
                  <a:latin typeface="Segoe UI"/>
                </a:endParaRPr>
              </a:p>
            </p:txBody>
          </p:sp>
        </mc:Choice>
        <mc:Fallback xmlns="">
          <p:sp>
            <p:nvSpPr>
              <p:cNvPr id="10" name="Rectangle 9"/>
              <p:cNvSpPr>
                <a:spLocks noRot="1" noChangeAspect="1" noMove="1" noResize="1" noEditPoints="1" noAdjustHandles="1" noChangeArrowheads="1" noChangeShapeType="1" noTextEdit="1"/>
              </p:cNvSpPr>
              <p:nvPr/>
            </p:nvSpPr>
            <p:spPr>
              <a:xfrm>
                <a:off x="1516292" y="5262943"/>
                <a:ext cx="1043555" cy="479940"/>
              </a:xfrm>
              <a:prstGeom prst="rect">
                <a:avLst/>
              </a:prstGeom>
              <a:blipFill>
                <a:blip r:embed="rId9"/>
                <a:stretch>
                  <a:fillRect b="-2532"/>
                </a:stretch>
              </a:blipFill>
            </p:spPr>
            <p:txBody>
              <a:bodyPr/>
              <a:lstStyle/>
              <a:p>
                <a:r>
                  <a:rPr lang="en-US">
                    <a:noFill/>
                  </a:rPr>
                  <a:t> </a:t>
                </a:r>
              </a:p>
            </p:txBody>
          </p:sp>
        </mc:Fallback>
      </mc:AlternateContent>
      <p:sp>
        <p:nvSpPr>
          <p:cNvPr id="3" name="TextBox 2"/>
          <p:cNvSpPr txBox="1"/>
          <p:nvPr/>
        </p:nvSpPr>
        <p:spPr>
          <a:xfrm>
            <a:off x="7406218" y="5280171"/>
            <a:ext cx="1979364" cy="470880"/>
          </a:xfrm>
          <a:prstGeom prst="rect">
            <a:avLst/>
          </a:prstGeom>
          <a:noFill/>
        </p:spPr>
        <p:txBody>
          <a:bodyPr wrap="none" lIns="137148" tIns="109719" rIns="137148" bIns="109719" rtlCol="0">
            <a:spAutoFit/>
          </a:bodyPr>
          <a:lstStyle/>
          <a:p>
            <a:pPr defTabSz="685709">
              <a:lnSpc>
                <a:spcPct val="90000"/>
              </a:lnSpc>
              <a:spcAft>
                <a:spcPts val="450"/>
              </a:spcAft>
              <a:defRPr/>
            </a:pPr>
            <a:r>
              <a:rPr lang="en-US" kern="0" dirty="0">
                <a:solidFill>
                  <a:srgbClr val="002050"/>
                </a:solidFill>
                <a:latin typeface="Segoe UI"/>
                <a:hlinkClick r:id="rId10"/>
              </a:rPr>
              <a:t>Github reference</a:t>
            </a:r>
            <a:endParaRPr lang="en-US" kern="0" dirty="0">
              <a:solidFill>
                <a:srgbClr val="002050"/>
              </a:solidFill>
              <a:latin typeface="Segoe UI"/>
            </a:endParaRPr>
          </a:p>
        </p:txBody>
      </p:sp>
      <p:sp>
        <p:nvSpPr>
          <p:cNvPr id="5" name="TextBox 4"/>
          <p:cNvSpPr txBox="1"/>
          <p:nvPr/>
        </p:nvSpPr>
        <p:spPr>
          <a:xfrm>
            <a:off x="396081" y="5935662"/>
            <a:ext cx="6139629" cy="1114151"/>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chemeClr val="bg2"/>
                </a:solidFill>
              </a:rPr>
              <a:t>Accuracy:  how often your model is correct</a:t>
            </a:r>
          </a:p>
          <a:p>
            <a:pPr>
              <a:lnSpc>
                <a:spcPct val="90000"/>
              </a:lnSpc>
              <a:spcAft>
                <a:spcPts val="600"/>
              </a:spcAft>
            </a:pPr>
            <a:r>
              <a:rPr lang="en-US" sz="1600" dirty="0">
                <a:solidFill>
                  <a:schemeClr val="bg2"/>
                </a:solidFill>
              </a:rPr>
              <a:t>Recall:  how often were true positives actually predicted (cancer)</a:t>
            </a:r>
          </a:p>
          <a:p>
            <a:pPr>
              <a:lnSpc>
                <a:spcPct val="90000"/>
              </a:lnSpc>
              <a:spcAft>
                <a:spcPts val="600"/>
              </a:spcAft>
            </a:pPr>
            <a:r>
              <a:rPr lang="en-US" sz="1600" dirty="0">
                <a:solidFill>
                  <a:schemeClr val="bg2"/>
                </a:solidFill>
              </a:rPr>
              <a:t>Precision:  how many of YOUR positive predictions were right</a:t>
            </a:r>
            <a:endParaRPr lang="en-US" sz="2400" dirty="0">
              <a:solidFill>
                <a:schemeClr val="bg2"/>
              </a:solidFill>
            </a:endParaRPr>
          </a:p>
        </p:txBody>
      </p:sp>
    </p:spTree>
    <p:extLst>
      <p:ext uri="{BB962C8B-B14F-4D97-AF65-F5344CB8AC3E}">
        <p14:creationId xmlns:p14="http://schemas.microsoft.com/office/powerpoint/2010/main" val="157307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 y="880997"/>
            <a:ext cx="9326563" cy="5232530"/>
          </a:xfrm>
          <a:prstGeom prst="rect">
            <a:avLst/>
          </a:prstGeom>
        </p:spPr>
      </p:pic>
    </p:spTree>
    <p:extLst>
      <p:ext uri="{BB962C8B-B14F-4D97-AF65-F5344CB8AC3E}">
        <p14:creationId xmlns:p14="http://schemas.microsoft.com/office/powerpoint/2010/main" val="354370602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975" y="220662"/>
            <a:ext cx="6083105" cy="677280"/>
          </a:xfrm>
        </p:spPr>
        <p:txBody>
          <a:bodyPr>
            <a:normAutofit/>
          </a:bodyPr>
          <a:lstStyle/>
          <a:p>
            <a:r>
              <a:rPr lang="en-US" sz="2700" dirty="0"/>
              <a:t>Common Data Science Pitfalls</a:t>
            </a:r>
          </a:p>
        </p:txBody>
      </p:sp>
      <p:sp>
        <p:nvSpPr>
          <p:cNvPr id="14" name="Content Placeholder 2"/>
          <p:cNvSpPr txBox="1">
            <a:spLocks/>
          </p:cNvSpPr>
          <p:nvPr/>
        </p:nvSpPr>
        <p:spPr>
          <a:xfrm>
            <a:off x="91670" y="1382892"/>
            <a:ext cx="5128160" cy="51623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dirty="0"/>
              <a:t>Not setting expectations of fuzzy timelines</a:t>
            </a:r>
          </a:p>
          <a:p>
            <a:r>
              <a:rPr lang="en-US" sz="2200" dirty="0"/>
              <a:t>Fuzzy, ill-defined business use case</a:t>
            </a:r>
          </a:p>
          <a:p>
            <a:r>
              <a:rPr lang="en-US" sz="2200" dirty="0"/>
              <a:t>Not everything needs a predictive approach</a:t>
            </a:r>
          </a:p>
          <a:p>
            <a:r>
              <a:rPr lang="en-US" sz="2200" dirty="0"/>
              <a:t>Not having the right data</a:t>
            </a:r>
          </a:p>
          <a:p>
            <a:r>
              <a:rPr lang="en-US" sz="2200" dirty="0"/>
              <a:t>Not thinking about deployment</a:t>
            </a:r>
          </a:p>
          <a:p>
            <a:r>
              <a:rPr lang="en-US" sz="2100" dirty="0"/>
              <a:t>Tips</a:t>
            </a:r>
          </a:p>
          <a:p>
            <a:pPr lvl="1"/>
            <a:r>
              <a:rPr lang="en-US" sz="1800" dirty="0"/>
              <a:t>Make sure the BUSINESS is engaged </a:t>
            </a:r>
          </a:p>
          <a:p>
            <a:pPr lvl="1"/>
            <a:r>
              <a:rPr lang="en-US" sz="1800" dirty="0"/>
              <a:t>Document intended value </a:t>
            </a:r>
            <a:endParaRPr lang="en-US" sz="1500" dirty="0"/>
          </a:p>
        </p:txBody>
      </p:sp>
      <p:pic>
        <p:nvPicPr>
          <p:cNvPr id="7" name="Picture 9" descr="Crisp-dmchartne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a:xfrm>
            <a:off x="5120442" y="1554327"/>
            <a:ext cx="3910993" cy="3552259"/>
          </a:xfrm>
          <a:prstGeom prst="rect">
            <a:avLst/>
          </a:prstGeom>
          <a:noFill/>
          <a:ln/>
          <a:extLs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 name="Oval 3"/>
          <p:cNvSpPr/>
          <p:nvPr/>
        </p:nvSpPr>
        <p:spPr bwMode="auto">
          <a:xfrm>
            <a:off x="5900400" y="1897198"/>
            <a:ext cx="1200048" cy="800032"/>
          </a:xfrm>
          <a:prstGeom prst="ellipse">
            <a:avLst/>
          </a:prstGeom>
          <a:noFill/>
          <a:ln w="381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61" fontAlgn="base">
              <a:spcBef>
                <a:spcPct val="0"/>
              </a:spcBef>
              <a:spcAft>
                <a:spcPct val="0"/>
              </a:spcAft>
            </a:pPr>
            <a:endParaRPr lang="en-US" sz="15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039269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 Need to Start By Understanding Statistics</a:t>
            </a:r>
          </a:p>
        </p:txBody>
      </p:sp>
      <p:pic>
        <p:nvPicPr>
          <p:cNvPr id="7" name="Picture 6">
            <a:extLst>
              <a:ext uri="{FF2B5EF4-FFF2-40B4-BE49-F238E27FC236}">
                <a16:creationId xmlns:a16="http://schemas.microsoft.com/office/drawing/2014/main" id="{5FC4952E-6BB7-422F-97EB-0FFB62B8983F}"/>
              </a:ext>
            </a:extLst>
          </p:cNvPr>
          <p:cNvPicPr>
            <a:picLocks noChangeAspect="1"/>
          </p:cNvPicPr>
          <p:nvPr/>
        </p:nvPicPr>
        <p:blipFill>
          <a:blip r:embed="rId2"/>
          <a:stretch>
            <a:fillRect/>
          </a:stretch>
        </p:blipFill>
        <p:spPr>
          <a:xfrm>
            <a:off x="779997" y="1668462"/>
            <a:ext cx="7768343" cy="2867180"/>
          </a:xfrm>
          <a:prstGeom prst="rect">
            <a:avLst/>
          </a:prstGeom>
        </p:spPr>
      </p:pic>
    </p:spTree>
    <p:extLst>
      <p:ext uri="{BB962C8B-B14F-4D97-AF65-F5344CB8AC3E}">
        <p14:creationId xmlns:p14="http://schemas.microsoft.com/office/powerpoint/2010/main" val="2454586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6F89A-C8D6-4E28-9B2F-D44623613688}"/>
              </a:ext>
            </a:extLst>
          </p:cNvPr>
          <p:cNvSpPr>
            <a:spLocks noGrp="1"/>
          </p:cNvSpPr>
          <p:nvPr>
            <p:ph type="title"/>
          </p:nvPr>
        </p:nvSpPr>
        <p:spPr/>
        <p:txBody>
          <a:bodyPr/>
          <a:lstStyle/>
          <a:p>
            <a:r>
              <a:rPr lang="en-US" dirty="0"/>
              <a:t>The Model-Driven Enterprise</a:t>
            </a:r>
          </a:p>
        </p:txBody>
      </p:sp>
      <p:sp>
        <p:nvSpPr>
          <p:cNvPr id="3" name="Text Placeholder 2">
            <a:extLst>
              <a:ext uri="{FF2B5EF4-FFF2-40B4-BE49-F238E27FC236}">
                <a16:creationId xmlns:a16="http://schemas.microsoft.com/office/drawing/2014/main" id="{A944BAF1-8374-430A-9360-9ED1E1E67754}"/>
              </a:ext>
            </a:extLst>
          </p:cNvPr>
          <p:cNvSpPr>
            <a:spLocks noGrp="1"/>
          </p:cNvSpPr>
          <p:nvPr>
            <p:ph type="body" sz="quarter" idx="10"/>
          </p:nvPr>
        </p:nvSpPr>
        <p:spPr>
          <a:xfrm>
            <a:off x="205962" y="1212849"/>
            <a:ext cx="4114449" cy="558614"/>
          </a:xfrm>
        </p:spPr>
        <p:txBody>
          <a:bodyPr/>
          <a:lstStyle/>
          <a:p>
            <a:r>
              <a:rPr lang="en-US" dirty="0"/>
              <a:t>Software 2.0</a:t>
            </a:r>
          </a:p>
        </p:txBody>
      </p:sp>
      <p:pic>
        <p:nvPicPr>
          <p:cNvPr id="5" name="Picture 4">
            <a:extLst>
              <a:ext uri="{FF2B5EF4-FFF2-40B4-BE49-F238E27FC236}">
                <a16:creationId xmlns:a16="http://schemas.microsoft.com/office/drawing/2014/main" id="{E38B2008-85B3-4163-80A8-03E964CE2B8E}"/>
              </a:ext>
            </a:extLst>
          </p:cNvPr>
          <p:cNvPicPr>
            <a:picLocks noChangeAspect="1"/>
          </p:cNvPicPr>
          <p:nvPr/>
        </p:nvPicPr>
        <p:blipFill>
          <a:blip r:embed="rId2"/>
          <a:stretch>
            <a:fillRect/>
          </a:stretch>
        </p:blipFill>
        <p:spPr>
          <a:xfrm>
            <a:off x="204186" y="1760316"/>
            <a:ext cx="8916415" cy="5234209"/>
          </a:xfrm>
          <a:prstGeom prst="rect">
            <a:avLst/>
          </a:prstGeom>
        </p:spPr>
      </p:pic>
    </p:spTree>
    <p:extLst>
      <p:ext uri="{BB962C8B-B14F-4D97-AF65-F5344CB8AC3E}">
        <p14:creationId xmlns:p14="http://schemas.microsoft.com/office/powerpoint/2010/main" val="277235578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C4E4A6-CB1D-4FDA-A60A-AD77ECFD150A}"/>
              </a:ext>
            </a:extLst>
          </p:cNvPr>
          <p:cNvPicPr>
            <a:picLocks noChangeAspect="1"/>
          </p:cNvPicPr>
          <p:nvPr/>
        </p:nvPicPr>
        <p:blipFill>
          <a:blip r:embed="rId2"/>
          <a:stretch>
            <a:fillRect/>
          </a:stretch>
        </p:blipFill>
        <p:spPr>
          <a:xfrm>
            <a:off x="-93743" y="1592262"/>
            <a:ext cx="9420306" cy="3772459"/>
          </a:xfrm>
          <a:prstGeom prst="rect">
            <a:avLst/>
          </a:prstGeom>
        </p:spPr>
      </p:pic>
    </p:spTree>
    <p:extLst>
      <p:ext uri="{BB962C8B-B14F-4D97-AF65-F5344CB8AC3E}">
        <p14:creationId xmlns:p14="http://schemas.microsoft.com/office/powerpoint/2010/main" val="410006821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derstanding the “Shape” of Data</a:t>
            </a:r>
          </a:p>
        </p:txBody>
      </p:sp>
      <p:sp>
        <p:nvSpPr>
          <p:cNvPr id="3" name="Text Placeholder 2"/>
          <p:cNvSpPr>
            <a:spLocks noGrp="1"/>
          </p:cNvSpPr>
          <p:nvPr>
            <p:ph type="body" sz="quarter" idx="10"/>
          </p:nvPr>
        </p:nvSpPr>
        <p:spPr>
          <a:xfrm>
            <a:off x="205962" y="945773"/>
            <a:ext cx="7771737" cy="558614"/>
          </a:xfrm>
        </p:spPr>
        <p:txBody>
          <a:bodyPr/>
          <a:lstStyle/>
          <a:p>
            <a:r>
              <a:rPr lang="en-US" dirty="0"/>
              <a:t>Will </a:t>
            </a:r>
            <a:r>
              <a:rPr lang="en-US"/>
              <a:t>this loan be charged off?  </a:t>
            </a:r>
            <a:endParaRPr lang="en-US" dirty="0"/>
          </a:p>
        </p:txBody>
      </p:sp>
      <p:pic>
        <p:nvPicPr>
          <p:cNvPr id="4" name="Picture 3"/>
          <p:cNvPicPr>
            <a:picLocks noChangeAspect="1"/>
          </p:cNvPicPr>
          <p:nvPr/>
        </p:nvPicPr>
        <p:blipFill>
          <a:blip r:embed="rId2"/>
          <a:stretch>
            <a:fillRect/>
          </a:stretch>
        </p:blipFill>
        <p:spPr>
          <a:xfrm>
            <a:off x="22008" y="2506662"/>
            <a:ext cx="9120600" cy="2094293"/>
          </a:xfrm>
          <a:prstGeom prst="rect">
            <a:avLst/>
          </a:prstGeom>
        </p:spPr>
      </p:pic>
    </p:spTree>
    <p:extLst>
      <p:ext uri="{BB962C8B-B14F-4D97-AF65-F5344CB8AC3E}">
        <p14:creationId xmlns:p14="http://schemas.microsoft.com/office/powerpoint/2010/main" val="37853055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erminology</a:t>
            </a:r>
          </a:p>
        </p:txBody>
      </p:sp>
      <p:sp>
        <p:nvSpPr>
          <p:cNvPr id="5" name="Text Placeholder 4"/>
          <p:cNvSpPr>
            <a:spLocks noGrp="1"/>
          </p:cNvSpPr>
          <p:nvPr>
            <p:ph type="body" sz="quarter" idx="10"/>
          </p:nvPr>
        </p:nvSpPr>
        <p:spPr>
          <a:xfrm>
            <a:off x="205962" y="906462"/>
            <a:ext cx="8914641" cy="5032147"/>
          </a:xfrm>
        </p:spPr>
        <p:txBody>
          <a:bodyPr/>
          <a:lstStyle/>
          <a:p>
            <a:r>
              <a:rPr lang="en-US" sz="2100" b="1" dirty="0"/>
              <a:t>Training Data </a:t>
            </a:r>
            <a:r>
              <a:rPr lang="en-US" sz="2100" dirty="0"/>
              <a:t>: A set of samples (table of data)</a:t>
            </a:r>
          </a:p>
          <a:p>
            <a:r>
              <a:rPr lang="en-US" sz="2100" b="1" dirty="0"/>
              <a:t>Testing Data</a:t>
            </a:r>
            <a:r>
              <a:rPr lang="en-US" sz="2100" dirty="0"/>
              <a:t>:  A set of samples (training data) set aside to test your model</a:t>
            </a:r>
          </a:p>
          <a:p>
            <a:r>
              <a:rPr lang="en-US" sz="2100" b="1" dirty="0"/>
              <a:t>Features</a:t>
            </a:r>
            <a:r>
              <a:rPr lang="en-US" sz="2100" dirty="0"/>
              <a:t>: Individual columns in our data set.  These might be used to help make our prediction, or not.  </a:t>
            </a:r>
          </a:p>
          <a:p>
            <a:r>
              <a:rPr lang="en-US" sz="2100" b="1" dirty="0"/>
              <a:t>	Factors:  </a:t>
            </a:r>
            <a:r>
              <a:rPr lang="en-US" sz="2100" dirty="0"/>
              <a:t>aka features</a:t>
            </a:r>
          </a:p>
          <a:p>
            <a:r>
              <a:rPr lang="en-US" sz="2100" b="1" dirty="0"/>
              <a:t>	Categorical Features</a:t>
            </a:r>
            <a:r>
              <a:rPr lang="en-US" sz="2100" dirty="0"/>
              <a:t>:  features with a known domain of values</a:t>
            </a:r>
          </a:p>
          <a:p>
            <a:r>
              <a:rPr lang="en-US" sz="2100" dirty="0"/>
              <a:t>	</a:t>
            </a:r>
            <a:r>
              <a:rPr lang="en-US" sz="2100" b="1" dirty="0"/>
              <a:t>independent variables</a:t>
            </a:r>
            <a:r>
              <a:rPr lang="en-US" sz="2100" dirty="0"/>
              <a:t>:  aka features</a:t>
            </a:r>
          </a:p>
          <a:p>
            <a:r>
              <a:rPr lang="en-US" sz="2100" b="1" dirty="0"/>
              <a:t>Feature Engineering</a:t>
            </a:r>
            <a:r>
              <a:rPr lang="en-US" sz="2100" dirty="0"/>
              <a:t>:  manipulating existing data to make it more meaningful</a:t>
            </a:r>
          </a:p>
          <a:p>
            <a:r>
              <a:rPr lang="en-US" sz="2100" dirty="0"/>
              <a:t>	very similar to ETL</a:t>
            </a:r>
          </a:p>
          <a:p>
            <a:r>
              <a:rPr lang="en-US" sz="2100" dirty="0"/>
              <a:t>	</a:t>
            </a:r>
            <a:r>
              <a:rPr lang="en-US" sz="2100" b="1" dirty="0"/>
              <a:t>Data Wrangling/Munging</a:t>
            </a:r>
            <a:r>
              <a:rPr lang="en-US" sz="2100" dirty="0"/>
              <a:t>:  ETL</a:t>
            </a:r>
          </a:p>
          <a:p>
            <a:r>
              <a:rPr lang="en-US" sz="2100" b="1" dirty="0"/>
              <a:t>Data Dredging</a:t>
            </a:r>
            <a:r>
              <a:rPr lang="en-US" sz="2100" dirty="0"/>
              <a:t>:  make the data fit the hypothesis (don’t do this)</a:t>
            </a:r>
          </a:p>
          <a:p>
            <a:r>
              <a:rPr lang="en-US" sz="2100" b="1" dirty="0"/>
              <a:t>Label</a:t>
            </a:r>
            <a:r>
              <a:rPr lang="en-US" sz="2100" dirty="0"/>
              <a:t>: Historical outcome or result related to a set of samples.  </a:t>
            </a:r>
          </a:p>
          <a:p>
            <a:r>
              <a:rPr lang="en-US" sz="2100" dirty="0"/>
              <a:t>	What you are trying to predict. </a:t>
            </a:r>
          </a:p>
          <a:p>
            <a:r>
              <a:rPr lang="en-US" sz="2100" dirty="0"/>
              <a:t>	aka, “the target” or “the dependent variable”, or “response”</a:t>
            </a:r>
          </a:p>
        </p:txBody>
      </p:sp>
    </p:spTree>
    <p:extLst>
      <p:ext uri="{BB962C8B-B14F-4D97-AF65-F5344CB8AC3E}">
        <p14:creationId xmlns:p14="http://schemas.microsoft.com/office/powerpoint/2010/main" val="159882790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Feature Engineering Tasks</a:t>
            </a:r>
          </a:p>
        </p:txBody>
      </p:sp>
      <p:grpSp>
        <p:nvGrpSpPr>
          <p:cNvPr id="2" name="Group 1"/>
          <p:cNvGrpSpPr/>
          <p:nvPr/>
        </p:nvGrpSpPr>
        <p:grpSpPr>
          <a:xfrm>
            <a:off x="1969828" y="1840053"/>
            <a:ext cx="5388680" cy="4145138"/>
            <a:chOff x="2626661" y="1287462"/>
            <a:chExt cx="7185518" cy="5527321"/>
          </a:xfrm>
        </p:grpSpPr>
        <p:sp>
          <p:nvSpPr>
            <p:cNvPr id="5" name="Freeform 4"/>
            <p:cNvSpPr/>
            <p:nvPr/>
          </p:nvSpPr>
          <p:spPr>
            <a:xfrm>
              <a:off x="7081682" y="5046040"/>
              <a:ext cx="2730497" cy="1768743"/>
            </a:xfrm>
            <a:custGeom>
              <a:avLst/>
              <a:gdLst>
                <a:gd name="connsiteX0" fmla="*/ 0 w 2730497"/>
                <a:gd name="connsiteY0" fmla="*/ 176874 h 1768743"/>
                <a:gd name="connsiteX1" fmla="*/ 176874 w 2730497"/>
                <a:gd name="connsiteY1" fmla="*/ 0 h 1768743"/>
                <a:gd name="connsiteX2" fmla="*/ 2553623 w 2730497"/>
                <a:gd name="connsiteY2" fmla="*/ 0 h 1768743"/>
                <a:gd name="connsiteX3" fmla="*/ 2730497 w 2730497"/>
                <a:gd name="connsiteY3" fmla="*/ 176874 h 1768743"/>
                <a:gd name="connsiteX4" fmla="*/ 2730497 w 2730497"/>
                <a:gd name="connsiteY4" fmla="*/ 1591869 h 1768743"/>
                <a:gd name="connsiteX5" fmla="*/ 2553623 w 2730497"/>
                <a:gd name="connsiteY5" fmla="*/ 1768743 h 1768743"/>
                <a:gd name="connsiteX6" fmla="*/ 176874 w 2730497"/>
                <a:gd name="connsiteY6" fmla="*/ 1768743 h 1768743"/>
                <a:gd name="connsiteX7" fmla="*/ 0 w 2730497"/>
                <a:gd name="connsiteY7" fmla="*/ 1591869 h 1768743"/>
                <a:gd name="connsiteX8" fmla="*/ 0 w 2730497"/>
                <a:gd name="connsiteY8" fmla="*/ 176874 h 176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30497" h="1768743">
                  <a:moveTo>
                    <a:pt x="0" y="176874"/>
                  </a:moveTo>
                  <a:cubicBezTo>
                    <a:pt x="0" y="79189"/>
                    <a:pt x="79189" y="0"/>
                    <a:pt x="176874" y="0"/>
                  </a:cubicBezTo>
                  <a:lnTo>
                    <a:pt x="2553623" y="0"/>
                  </a:lnTo>
                  <a:cubicBezTo>
                    <a:pt x="2651308" y="0"/>
                    <a:pt x="2730497" y="79189"/>
                    <a:pt x="2730497" y="176874"/>
                  </a:cubicBezTo>
                  <a:lnTo>
                    <a:pt x="2730497" y="1591869"/>
                  </a:lnTo>
                  <a:cubicBezTo>
                    <a:pt x="2730497" y="1689554"/>
                    <a:pt x="2651308" y="1768743"/>
                    <a:pt x="2553623" y="1768743"/>
                  </a:cubicBezTo>
                  <a:lnTo>
                    <a:pt x="176874" y="1768743"/>
                  </a:lnTo>
                  <a:cubicBezTo>
                    <a:pt x="79189" y="1768743"/>
                    <a:pt x="0" y="1689554"/>
                    <a:pt x="0" y="1591869"/>
                  </a:cubicBezTo>
                  <a:lnTo>
                    <a:pt x="0" y="176874"/>
                  </a:lnTo>
                  <a:close/>
                </a:path>
              </a:pathLst>
            </a:custGeom>
          </p:spPr>
          <p:style>
            <a:lnRef idx="2">
              <a:schemeClr val="accent5">
                <a:hueOff val="7992581"/>
                <a:satOff val="607"/>
                <a:lumOff val="-17907"/>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89164" tIns="406465" rIns="74855" bIns="74854" numCol="1" spcCol="1270" anchor="t" anchorCtr="0">
              <a:noAutofit/>
            </a:bodyPr>
            <a:lstStyle/>
            <a:p>
              <a:pPr marL="128570" lvl="1" indent="-128570" defTabSz="533329">
                <a:lnSpc>
                  <a:spcPct val="90000"/>
                </a:lnSpc>
                <a:spcBef>
                  <a:spcPct val="0"/>
                </a:spcBef>
                <a:spcAft>
                  <a:spcPct val="15000"/>
                </a:spcAft>
                <a:buFontTx/>
                <a:buChar char="•"/>
                <a:defRPr/>
              </a:pPr>
              <a:r>
                <a:rPr lang="en-US" sz="1200" b="1" dirty="0">
                  <a:solidFill>
                    <a:sysClr val="windowText" lastClr="000000"/>
                  </a:solidFill>
                  <a:latin typeface="Segoe UI Semilight"/>
                </a:rPr>
                <a:t>Data is skewed</a:t>
              </a:r>
            </a:p>
            <a:p>
              <a:pPr marL="128570" lvl="1" indent="-128570" defTabSz="533329">
                <a:lnSpc>
                  <a:spcPct val="90000"/>
                </a:lnSpc>
                <a:spcBef>
                  <a:spcPct val="0"/>
                </a:spcBef>
                <a:spcAft>
                  <a:spcPct val="15000"/>
                </a:spcAft>
                <a:buFontTx/>
                <a:buChar char="•"/>
                <a:defRPr/>
              </a:pPr>
              <a:r>
                <a:rPr lang="en-US" sz="1200" b="1" dirty="0">
                  <a:solidFill>
                    <a:sysClr val="windowText" lastClr="000000"/>
                  </a:solidFill>
                  <a:latin typeface="Segoe UI Semilight"/>
                </a:rPr>
                <a:t>Input is in wrong data type</a:t>
              </a:r>
            </a:p>
          </p:txBody>
        </p:sp>
        <p:sp>
          <p:nvSpPr>
            <p:cNvPr id="6" name="Freeform 5"/>
            <p:cNvSpPr/>
            <p:nvPr/>
          </p:nvSpPr>
          <p:spPr>
            <a:xfrm>
              <a:off x="2626661" y="5046040"/>
              <a:ext cx="2730497" cy="1768743"/>
            </a:xfrm>
            <a:custGeom>
              <a:avLst/>
              <a:gdLst>
                <a:gd name="connsiteX0" fmla="*/ 0 w 2730497"/>
                <a:gd name="connsiteY0" fmla="*/ 176874 h 1768743"/>
                <a:gd name="connsiteX1" fmla="*/ 176874 w 2730497"/>
                <a:gd name="connsiteY1" fmla="*/ 0 h 1768743"/>
                <a:gd name="connsiteX2" fmla="*/ 2553623 w 2730497"/>
                <a:gd name="connsiteY2" fmla="*/ 0 h 1768743"/>
                <a:gd name="connsiteX3" fmla="*/ 2730497 w 2730497"/>
                <a:gd name="connsiteY3" fmla="*/ 176874 h 1768743"/>
                <a:gd name="connsiteX4" fmla="*/ 2730497 w 2730497"/>
                <a:gd name="connsiteY4" fmla="*/ 1591869 h 1768743"/>
                <a:gd name="connsiteX5" fmla="*/ 2553623 w 2730497"/>
                <a:gd name="connsiteY5" fmla="*/ 1768743 h 1768743"/>
                <a:gd name="connsiteX6" fmla="*/ 176874 w 2730497"/>
                <a:gd name="connsiteY6" fmla="*/ 1768743 h 1768743"/>
                <a:gd name="connsiteX7" fmla="*/ 0 w 2730497"/>
                <a:gd name="connsiteY7" fmla="*/ 1591869 h 1768743"/>
                <a:gd name="connsiteX8" fmla="*/ 0 w 2730497"/>
                <a:gd name="connsiteY8" fmla="*/ 176874 h 176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30497" h="1768743">
                  <a:moveTo>
                    <a:pt x="0" y="176874"/>
                  </a:moveTo>
                  <a:cubicBezTo>
                    <a:pt x="0" y="79189"/>
                    <a:pt x="79189" y="0"/>
                    <a:pt x="176874" y="0"/>
                  </a:cubicBezTo>
                  <a:lnTo>
                    <a:pt x="2553623" y="0"/>
                  </a:lnTo>
                  <a:cubicBezTo>
                    <a:pt x="2651308" y="0"/>
                    <a:pt x="2730497" y="79189"/>
                    <a:pt x="2730497" y="176874"/>
                  </a:cubicBezTo>
                  <a:lnTo>
                    <a:pt x="2730497" y="1591869"/>
                  </a:lnTo>
                  <a:cubicBezTo>
                    <a:pt x="2730497" y="1689554"/>
                    <a:pt x="2651308" y="1768743"/>
                    <a:pt x="2553623" y="1768743"/>
                  </a:cubicBezTo>
                  <a:lnTo>
                    <a:pt x="176874" y="1768743"/>
                  </a:lnTo>
                  <a:cubicBezTo>
                    <a:pt x="79189" y="1768743"/>
                    <a:pt x="0" y="1689554"/>
                    <a:pt x="0" y="1591869"/>
                  </a:cubicBezTo>
                  <a:lnTo>
                    <a:pt x="0" y="176874"/>
                  </a:lnTo>
                  <a:close/>
                </a:path>
              </a:pathLst>
            </a:custGeom>
          </p:spPr>
          <p:style>
            <a:lnRef idx="2">
              <a:schemeClr val="accent5">
                <a:hueOff val="11988871"/>
                <a:satOff val="911"/>
                <a:lumOff val="-26861"/>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1997" tIns="403608" rIns="686307" bIns="71997" numCol="1" spcCol="1270" anchor="t" anchorCtr="0">
              <a:noAutofit/>
            </a:bodyPr>
            <a:lstStyle/>
            <a:p>
              <a:pPr marL="85714" lvl="1" indent="-85714" defTabSz="499996">
                <a:lnSpc>
                  <a:spcPct val="90000"/>
                </a:lnSpc>
                <a:spcBef>
                  <a:spcPct val="0"/>
                </a:spcBef>
                <a:spcAft>
                  <a:spcPct val="15000"/>
                </a:spcAft>
                <a:buFontTx/>
                <a:buChar char="•"/>
                <a:defRPr/>
              </a:pPr>
              <a:r>
                <a:rPr lang="en-US" sz="1125" b="1" dirty="0">
                  <a:solidFill>
                    <a:sysClr val="windowText" lastClr="000000"/>
                  </a:solidFill>
                  <a:latin typeface="Segoe UI Semilight"/>
                </a:rPr>
                <a:t>Missing values are very common</a:t>
              </a:r>
            </a:p>
            <a:p>
              <a:pPr marL="85714" lvl="1" indent="-85714" defTabSz="499996">
                <a:lnSpc>
                  <a:spcPct val="90000"/>
                </a:lnSpc>
                <a:spcBef>
                  <a:spcPct val="0"/>
                </a:spcBef>
                <a:spcAft>
                  <a:spcPct val="15000"/>
                </a:spcAft>
                <a:buFontTx/>
                <a:buChar char="•"/>
                <a:defRPr/>
              </a:pPr>
              <a:r>
                <a:rPr lang="en-US" sz="1125" b="1" dirty="0">
                  <a:solidFill>
                    <a:sysClr val="windowText" lastClr="000000"/>
                  </a:solidFill>
                  <a:latin typeface="Segoe UI Semilight"/>
                </a:rPr>
                <a:t>It has a significant effect on the conclusion </a:t>
              </a:r>
            </a:p>
            <a:p>
              <a:pPr marL="85714" lvl="1" indent="-85714" defTabSz="399997">
                <a:lnSpc>
                  <a:spcPct val="90000"/>
                </a:lnSpc>
                <a:spcBef>
                  <a:spcPct val="0"/>
                </a:spcBef>
                <a:spcAft>
                  <a:spcPct val="15000"/>
                </a:spcAft>
                <a:buFontTx/>
                <a:buChar char="•"/>
                <a:defRPr/>
              </a:pPr>
              <a:endParaRPr lang="en-US" sz="900" dirty="0">
                <a:solidFill>
                  <a:sysClr val="windowText" lastClr="000000"/>
                </a:solidFill>
                <a:latin typeface="Segoe UI Semilight"/>
              </a:endParaRPr>
            </a:p>
          </p:txBody>
        </p:sp>
        <p:sp>
          <p:nvSpPr>
            <p:cNvPr id="7" name="Freeform 6"/>
            <p:cNvSpPr/>
            <p:nvPr/>
          </p:nvSpPr>
          <p:spPr>
            <a:xfrm>
              <a:off x="7081682" y="1287462"/>
              <a:ext cx="2730497" cy="1768743"/>
            </a:xfrm>
            <a:custGeom>
              <a:avLst/>
              <a:gdLst>
                <a:gd name="connsiteX0" fmla="*/ 0 w 2730497"/>
                <a:gd name="connsiteY0" fmla="*/ 176874 h 1768743"/>
                <a:gd name="connsiteX1" fmla="*/ 176874 w 2730497"/>
                <a:gd name="connsiteY1" fmla="*/ 0 h 1768743"/>
                <a:gd name="connsiteX2" fmla="*/ 2553623 w 2730497"/>
                <a:gd name="connsiteY2" fmla="*/ 0 h 1768743"/>
                <a:gd name="connsiteX3" fmla="*/ 2730497 w 2730497"/>
                <a:gd name="connsiteY3" fmla="*/ 176874 h 1768743"/>
                <a:gd name="connsiteX4" fmla="*/ 2730497 w 2730497"/>
                <a:gd name="connsiteY4" fmla="*/ 1591869 h 1768743"/>
                <a:gd name="connsiteX5" fmla="*/ 2553623 w 2730497"/>
                <a:gd name="connsiteY5" fmla="*/ 1768743 h 1768743"/>
                <a:gd name="connsiteX6" fmla="*/ 176874 w 2730497"/>
                <a:gd name="connsiteY6" fmla="*/ 1768743 h 1768743"/>
                <a:gd name="connsiteX7" fmla="*/ 0 w 2730497"/>
                <a:gd name="connsiteY7" fmla="*/ 1591869 h 1768743"/>
                <a:gd name="connsiteX8" fmla="*/ 0 w 2730497"/>
                <a:gd name="connsiteY8" fmla="*/ 176874 h 176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30497" h="1768743">
                  <a:moveTo>
                    <a:pt x="0" y="176874"/>
                  </a:moveTo>
                  <a:cubicBezTo>
                    <a:pt x="0" y="79189"/>
                    <a:pt x="79189" y="0"/>
                    <a:pt x="176874" y="0"/>
                  </a:cubicBezTo>
                  <a:lnTo>
                    <a:pt x="2553623" y="0"/>
                  </a:lnTo>
                  <a:cubicBezTo>
                    <a:pt x="2651308" y="0"/>
                    <a:pt x="2730497" y="79189"/>
                    <a:pt x="2730497" y="176874"/>
                  </a:cubicBezTo>
                  <a:lnTo>
                    <a:pt x="2730497" y="1591869"/>
                  </a:lnTo>
                  <a:cubicBezTo>
                    <a:pt x="2730497" y="1689554"/>
                    <a:pt x="2651308" y="1768743"/>
                    <a:pt x="2553623" y="1768743"/>
                  </a:cubicBezTo>
                  <a:lnTo>
                    <a:pt x="176874" y="1768743"/>
                  </a:lnTo>
                  <a:cubicBezTo>
                    <a:pt x="79189" y="1768743"/>
                    <a:pt x="0" y="1689554"/>
                    <a:pt x="0" y="1591869"/>
                  </a:cubicBezTo>
                  <a:lnTo>
                    <a:pt x="0" y="176874"/>
                  </a:lnTo>
                  <a:close/>
                </a:path>
              </a:pathLst>
            </a:custGeom>
          </p:spPr>
          <p:style>
            <a:lnRef idx="2">
              <a:schemeClr val="accent5">
                <a:hueOff val="3996291"/>
                <a:satOff val="304"/>
                <a:lumOff val="-8954"/>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89164" tIns="74854" rIns="74855" bIns="406465" numCol="1" spcCol="1270" anchor="t" anchorCtr="0">
              <a:noAutofit/>
            </a:bodyPr>
            <a:lstStyle/>
            <a:p>
              <a:pPr marL="128570" lvl="1" indent="-128570" defTabSz="533329">
                <a:lnSpc>
                  <a:spcPct val="90000"/>
                </a:lnSpc>
                <a:spcBef>
                  <a:spcPct val="0"/>
                </a:spcBef>
                <a:spcAft>
                  <a:spcPct val="15000"/>
                </a:spcAft>
                <a:buFontTx/>
                <a:buChar char="•"/>
                <a:defRPr/>
              </a:pPr>
              <a:r>
                <a:rPr lang="en-US" sz="1200" b="1" dirty="0">
                  <a:solidFill>
                    <a:sysClr val="windowText" lastClr="000000"/>
                  </a:solidFill>
                  <a:latin typeface="Segoe UI Semilight"/>
                </a:rPr>
                <a:t>Some features are not observable </a:t>
              </a:r>
            </a:p>
            <a:p>
              <a:pPr marL="128570" lvl="1" indent="-128570" defTabSz="533329">
                <a:lnSpc>
                  <a:spcPct val="90000"/>
                </a:lnSpc>
                <a:spcBef>
                  <a:spcPct val="0"/>
                </a:spcBef>
                <a:spcAft>
                  <a:spcPct val="15000"/>
                </a:spcAft>
                <a:buFontTx/>
                <a:buChar char="•"/>
                <a:defRPr/>
              </a:pPr>
              <a:r>
                <a:rPr lang="en-US" sz="1200" b="1" dirty="0">
                  <a:solidFill>
                    <a:sysClr val="windowText" lastClr="000000"/>
                  </a:solidFill>
                  <a:latin typeface="Segoe UI Semilight"/>
                </a:rPr>
                <a:t>Domain knowledge</a:t>
              </a:r>
            </a:p>
          </p:txBody>
        </p:sp>
        <p:sp>
          <p:nvSpPr>
            <p:cNvPr id="8" name="Freeform 7"/>
            <p:cNvSpPr/>
            <p:nvPr/>
          </p:nvSpPr>
          <p:spPr>
            <a:xfrm>
              <a:off x="2626661" y="1287462"/>
              <a:ext cx="2730497" cy="1768743"/>
            </a:xfrm>
            <a:custGeom>
              <a:avLst/>
              <a:gdLst>
                <a:gd name="connsiteX0" fmla="*/ 0 w 2730497"/>
                <a:gd name="connsiteY0" fmla="*/ 176874 h 1768743"/>
                <a:gd name="connsiteX1" fmla="*/ 176874 w 2730497"/>
                <a:gd name="connsiteY1" fmla="*/ 0 h 1768743"/>
                <a:gd name="connsiteX2" fmla="*/ 2553623 w 2730497"/>
                <a:gd name="connsiteY2" fmla="*/ 0 h 1768743"/>
                <a:gd name="connsiteX3" fmla="*/ 2730497 w 2730497"/>
                <a:gd name="connsiteY3" fmla="*/ 176874 h 1768743"/>
                <a:gd name="connsiteX4" fmla="*/ 2730497 w 2730497"/>
                <a:gd name="connsiteY4" fmla="*/ 1591869 h 1768743"/>
                <a:gd name="connsiteX5" fmla="*/ 2553623 w 2730497"/>
                <a:gd name="connsiteY5" fmla="*/ 1768743 h 1768743"/>
                <a:gd name="connsiteX6" fmla="*/ 176874 w 2730497"/>
                <a:gd name="connsiteY6" fmla="*/ 1768743 h 1768743"/>
                <a:gd name="connsiteX7" fmla="*/ 0 w 2730497"/>
                <a:gd name="connsiteY7" fmla="*/ 1591869 h 1768743"/>
                <a:gd name="connsiteX8" fmla="*/ 0 w 2730497"/>
                <a:gd name="connsiteY8" fmla="*/ 176874 h 176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30497" h="1768743">
                  <a:moveTo>
                    <a:pt x="0" y="176874"/>
                  </a:moveTo>
                  <a:cubicBezTo>
                    <a:pt x="0" y="79189"/>
                    <a:pt x="79189" y="0"/>
                    <a:pt x="176874" y="0"/>
                  </a:cubicBezTo>
                  <a:lnTo>
                    <a:pt x="2553623" y="0"/>
                  </a:lnTo>
                  <a:cubicBezTo>
                    <a:pt x="2651308" y="0"/>
                    <a:pt x="2730497" y="79189"/>
                    <a:pt x="2730497" y="176874"/>
                  </a:cubicBezTo>
                  <a:lnTo>
                    <a:pt x="2730497" y="1591869"/>
                  </a:lnTo>
                  <a:cubicBezTo>
                    <a:pt x="2730497" y="1689554"/>
                    <a:pt x="2651308" y="1768743"/>
                    <a:pt x="2553623" y="1768743"/>
                  </a:cubicBezTo>
                  <a:lnTo>
                    <a:pt x="176874" y="1768743"/>
                  </a:lnTo>
                  <a:cubicBezTo>
                    <a:pt x="79189" y="1768743"/>
                    <a:pt x="0" y="1689554"/>
                    <a:pt x="0" y="1591869"/>
                  </a:cubicBezTo>
                  <a:lnTo>
                    <a:pt x="0" y="176874"/>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854" tIns="74854" rIns="689164" bIns="406465" numCol="1" spcCol="1270" anchor="t" anchorCtr="0">
              <a:noAutofit/>
            </a:bodyPr>
            <a:lstStyle/>
            <a:p>
              <a:pPr marL="128570" lvl="1" indent="-128570" defTabSz="533329">
                <a:lnSpc>
                  <a:spcPct val="90000"/>
                </a:lnSpc>
                <a:spcBef>
                  <a:spcPct val="0"/>
                </a:spcBef>
                <a:spcAft>
                  <a:spcPct val="15000"/>
                </a:spcAft>
                <a:buFontTx/>
                <a:buChar char="•"/>
                <a:defRPr/>
              </a:pPr>
              <a:r>
                <a:rPr lang="en-US" sz="1200" b="1" dirty="0">
                  <a:solidFill>
                    <a:sysClr val="windowText" lastClr="000000"/>
                  </a:solidFill>
                  <a:latin typeface="Segoe UI Semilight"/>
                </a:rPr>
                <a:t>Improve model  performance</a:t>
              </a:r>
            </a:p>
            <a:p>
              <a:pPr marL="128570" lvl="1" indent="-128570" defTabSz="533329">
                <a:lnSpc>
                  <a:spcPct val="90000"/>
                </a:lnSpc>
                <a:spcBef>
                  <a:spcPct val="0"/>
                </a:spcBef>
                <a:spcAft>
                  <a:spcPct val="15000"/>
                </a:spcAft>
                <a:buFontTx/>
                <a:buChar char="•"/>
                <a:defRPr/>
              </a:pPr>
              <a:r>
                <a:rPr lang="en-US" sz="1200" b="1" dirty="0">
                  <a:solidFill>
                    <a:sysClr val="windowText" lastClr="000000"/>
                  </a:solidFill>
                  <a:latin typeface="Segoe UI Semilight"/>
                </a:rPr>
                <a:t>Faster &amp; effective</a:t>
              </a:r>
            </a:p>
            <a:p>
              <a:pPr marL="128570" lvl="1" indent="-128570" defTabSz="533329">
                <a:lnSpc>
                  <a:spcPct val="90000"/>
                </a:lnSpc>
                <a:spcBef>
                  <a:spcPct val="0"/>
                </a:spcBef>
                <a:spcAft>
                  <a:spcPct val="15000"/>
                </a:spcAft>
                <a:buFontTx/>
                <a:buChar char="•"/>
                <a:defRPr/>
              </a:pPr>
              <a:r>
                <a:rPr lang="en-US" sz="1200" b="1" dirty="0">
                  <a:solidFill>
                    <a:sysClr val="windowText" lastClr="000000"/>
                  </a:solidFill>
                  <a:latin typeface="Segoe UI Semilight"/>
                </a:rPr>
                <a:t>Better understanding</a:t>
              </a:r>
            </a:p>
          </p:txBody>
        </p:sp>
        <p:sp>
          <p:nvSpPr>
            <p:cNvPr id="9" name="Freeform 8"/>
            <p:cNvSpPr/>
            <p:nvPr/>
          </p:nvSpPr>
          <p:spPr>
            <a:xfrm>
              <a:off x="3770816" y="160251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2393330"/>
                  </a:moveTo>
                  <a:cubicBezTo>
                    <a:pt x="0" y="1071530"/>
                    <a:pt x="1071530" y="0"/>
                    <a:pt x="2393330" y="0"/>
                  </a:cubicBezTo>
                  <a:lnTo>
                    <a:pt x="2393330" y="2393330"/>
                  </a:lnTo>
                  <a:lnTo>
                    <a:pt x="0" y="2393330"/>
                  </a:lnTo>
                  <a:close/>
                </a:path>
              </a:pathLst>
            </a:custGeom>
            <a:solidFill>
              <a:schemeClr val="accent1"/>
            </a:solidFill>
          </p:spPr>
          <p:style>
            <a:lnRef idx="3">
              <a:schemeClr val="lt1">
                <a:hueOff val="0"/>
                <a:satOff val="0"/>
                <a:lumOff val="0"/>
                <a:alphaOff val="0"/>
              </a:schemeClr>
            </a:lnRef>
            <a:fillRef idx="1">
              <a:schemeClr val="accent5">
                <a:hueOff val="0"/>
                <a:satOff val="0"/>
                <a:lumOff val="0"/>
                <a:alphaOff val="0"/>
              </a:schemeClr>
            </a:fillRef>
            <a:effectRef idx="1">
              <a:schemeClr val="accent5">
                <a:hueOff val="0"/>
                <a:satOff val="0"/>
                <a:lumOff val="0"/>
                <a:alphaOff val="0"/>
              </a:schemeClr>
            </a:effectRef>
            <a:fontRef idx="minor">
              <a:schemeClr val="lt1"/>
            </a:fontRef>
          </p:style>
          <p:txBody>
            <a:bodyPr spcFirstLastPara="0" vert="horz" wrap="square" lIns="621702" tIns="621702" rIns="96004" bIns="96004" numCol="1" spcCol="1270" anchor="ctr" anchorCtr="0">
              <a:noAutofit/>
            </a:bodyPr>
            <a:lstStyle/>
            <a:p>
              <a:pPr algn="ctr" defTabSz="599995">
                <a:lnSpc>
                  <a:spcPct val="90000"/>
                </a:lnSpc>
                <a:spcBef>
                  <a:spcPct val="0"/>
                </a:spcBef>
                <a:spcAft>
                  <a:spcPct val="35000"/>
                </a:spcAft>
                <a:defRPr/>
              </a:pPr>
              <a:r>
                <a:rPr lang="en-US" sz="1350" b="1" dirty="0">
                  <a:solidFill>
                    <a:srgbClr val="FFFFFF"/>
                  </a:solidFill>
                  <a:latin typeface="Segoe UI Semilight"/>
                </a:rPr>
                <a:t>Feature Selection</a:t>
              </a:r>
            </a:p>
          </p:txBody>
        </p:sp>
        <p:sp>
          <p:nvSpPr>
            <p:cNvPr id="10" name="Freeform 9"/>
            <p:cNvSpPr/>
            <p:nvPr/>
          </p:nvSpPr>
          <p:spPr>
            <a:xfrm>
              <a:off x="6274693" y="160251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0"/>
                  </a:moveTo>
                  <a:cubicBezTo>
                    <a:pt x="1321800" y="0"/>
                    <a:pt x="2393330" y="1071530"/>
                    <a:pt x="2393330" y="2393330"/>
                  </a:cubicBezTo>
                  <a:lnTo>
                    <a:pt x="0" y="2393330"/>
                  </a:lnTo>
                  <a:lnTo>
                    <a:pt x="0" y="0"/>
                  </a:lnTo>
                  <a:close/>
                </a:path>
              </a:pathLst>
            </a:custGeom>
          </p:spPr>
          <p:style>
            <a:lnRef idx="3">
              <a:schemeClr val="lt1">
                <a:hueOff val="0"/>
                <a:satOff val="0"/>
                <a:lumOff val="0"/>
                <a:alphaOff val="0"/>
              </a:schemeClr>
            </a:lnRef>
            <a:fillRef idx="1">
              <a:schemeClr val="accent5">
                <a:hueOff val="3996291"/>
                <a:satOff val="304"/>
                <a:lumOff val="-8954"/>
                <a:alphaOff val="0"/>
              </a:schemeClr>
            </a:fillRef>
            <a:effectRef idx="1">
              <a:schemeClr val="accent5">
                <a:hueOff val="3996291"/>
                <a:satOff val="304"/>
                <a:lumOff val="-8954"/>
                <a:alphaOff val="0"/>
              </a:schemeClr>
            </a:effectRef>
            <a:fontRef idx="minor">
              <a:schemeClr val="lt1"/>
            </a:fontRef>
          </p:style>
          <p:txBody>
            <a:bodyPr spcFirstLastPara="0" vert="horz" wrap="square" lIns="96004" tIns="621702" rIns="621702" bIns="96004" numCol="1" spcCol="1270" anchor="ctr" anchorCtr="0">
              <a:noAutofit/>
            </a:bodyPr>
            <a:lstStyle/>
            <a:p>
              <a:pPr algn="ctr" defTabSz="599995">
                <a:lnSpc>
                  <a:spcPct val="90000"/>
                </a:lnSpc>
                <a:spcBef>
                  <a:spcPct val="0"/>
                </a:spcBef>
                <a:spcAft>
                  <a:spcPct val="35000"/>
                </a:spcAft>
                <a:defRPr/>
              </a:pPr>
              <a:r>
                <a:rPr lang="en-US" sz="1350" b="1" dirty="0">
                  <a:solidFill>
                    <a:srgbClr val="FFFFFF"/>
                  </a:solidFill>
                  <a:latin typeface="Segoe UI Semilight"/>
                </a:rPr>
                <a:t>Feature Generation</a:t>
              </a:r>
            </a:p>
          </p:txBody>
        </p:sp>
        <p:sp>
          <p:nvSpPr>
            <p:cNvPr id="11" name="Freeform 10"/>
            <p:cNvSpPr/>
            <p:nvPr/>
          </p:nvSpPr>
          <p:spPr>
            <a:xfrm rot="21600000">
              <a:off x="6274693" y="4106395"/>
              <a:ext cx="2393331" cy="2393331"/>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0"/>
                  </a:moveTo>
                  <a:cubicBezTo>
                    <a:pt x="2393330" y="1321800"/>
                    <a:pt x="1321800" y="2393330"/>
                    <a:pt x="0" y="2393330"/>
                  </a:cubicBezTo>
                  <a:lnTo>
                    <a:pt x="0" y="0"/>
                  </a:lnTo>
                  <a:lnTo>
                    <a:pt x="2393330" y="0"/>
                  </a:lnTo>
                  <a:close/>
                </a:path>
              </a:pathLst>
            </a:custGeom>
          </p:spPr>
          <p:style>
            <a:lnRef idx="3">
              <a:schemeClr val="lt1">
                <a:hueOff val="0"/>
                <a:satOff val="0"/>
                <a:lumOff val="0"/>
                <a:alphaOff val="0"/>
              </a:schemeClr>
            </a:lnRef>
            <a:fillRef idx="1">
              <a:schemeClr val="accent5">
                <a:hueOff val="7992581"/>
                <a:satOff val="607"/>
                <a:lumOff val="-17907"/>
                <a:alphaOff val="0"/>
              </a:schemeClr>
            </a:fillRef>
            <a:effectRef idx="1">
              <a:schemeClr val="accent5">
                <a:hueOff val="7992581"/>
                <a:satOff val="607"/>
                <a:lumOff val="-17907"/>
                <a:alphaOff val="0"/>
              </a:schemeClr>
            </a:effectRef>
            <a:fontRef idx="minor">
              <a:schemeClr val="lt1"/>
            </a:fontRef>
          </p:style>
          <p:txBody>
            <a:bodyPr spcFirstLastPara="0" vert="horz" wrap="square" lIns="90670" tIns="90671" rIns="616369" bIns="616368" numCol="1" spcCol="1270" anchor="ctr" anchorCtr="0">
              <a:noAutofit/>
            </a:bodyPr>
            <a:lstStyle/>
            <a:p>
              <a:pPr algn="ctr" defTabSz="566662">
                <a:lnSpc>
                  <a:spcPct val="90000"/>
                </a:lnSpc>
                <a:spcBef>
                  <a:spcPct val="0"/>
                </a:spcBef>
                <a:spcAft>
                  <a:spcPct val="35000"/>
                </a:spcAft>
                <a:defRPr/>
              </a:pPr>
              <a:r>
                <a:rPr lang="en-US" sz="1275" b="1" dirty="0">
                  <a:solidFill>
                    <a:srgbClr val="FFFFFF"/>
                  </a:solidFill>
                  <a:latin typeface="Segoe UI Semilight"/>
                </a:rPr>
                <a:t>Feature Transformation</a:t>
              </a:r>
            </a:p>
          </p:txBody>
        </p:sp>
        <p:sp>
          <p:nvSpPr>
            <p:cNvPr id="12" name="Freeform 11"/>
            <p:cNvSpPr/>
            <p:nvPr/>
          </p:nvSpPr>
          <p:spPr>
            <a:xfrm rot="21600000">
              <a:off x="3770816" y="4106396"/>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2393330"/>
                  </a:moveTo>
                  <a:cubicBezTo>
                    <a:pt x="1071530" y="2393330"/>
                    <a:pt x="0" y="1321800"/>
                    <a:pt x="0" y="0"/>
                  </a:cubicBezTo>
                  <a:lnTo>
                    <a:pt x="2393330" y="0"/>
                  </a:lnTo>
                  <a:lnTo>
                    <a:pt x="2393330" y="2393330"/>
                  </a:lnTo>
                  <a:close/>
                </a:path>
              </a:pathLst>
            </a:custGeom>
          </p:spPr>
          <p:style>
            <a:lnRef idx="3">
              <a:schemeClr val="lt1">
                <a:hueOff val="0"/>
                <a:satOff val="0"/>
                <a:lumOff val="0"/>
                <a:alphaOff val="0"/>
              </a:schemeClr>
            </a:lnRef>
            <a:fillRef idx="1">
              <a:schemeClr val="accent5">
                <a:hueOff val="11988871"/>
                <a:satOff val="911"/>
                <a:lumOff val="-26861"/>
                <a:alphaOff val="0"/>
              </a:schemeClr>
            </a:fillRef>
            <a:effectRef idx="1">
              <a:schemeClr val="accent5">
                <a:hueOff val="11988871"/>
                <a:satOff val="911"/>
                <a:lumOff val="-26861"/>
                <a:alphaOff val="0"/>
              </a:schemeClr>
            </a:effectRef>
            <a:fontRef idx="minor">
              <a:schemeClr val="lt1"/>
            </a:fontRef>
          </p:style>
          <p:txBody>
            <a:bodyPr spcFirstLastPara="0" vert="horz" wrap="square" lIns="621702" tIns="96004" rIns="96004" bIns="621702" numCol="1" spcCol="1270" anchor="ctr" anchorCtr="0">
              <a:noAutofit/>
            </a:bodyPr>
            <a:lstStyle/>
            <a:p>
              <a:pPr algn="ctr" defTabSz="599995">
                <a:lnSpc>
                  <a:spcPct val="90000"/>
                </a:lnSpc>
                <a:spcBef>
                  <a:spcPct val="0"/>
                </a:spcBef>
                <a:spcAft>
                  <a:spcPct val="35000"/>
                </a:spcAft>
                <a:defRPr/>
              </a:pPr>
              <a:r>
                <a:rPr lang="en-US" sz="1350" b="1" dirty="0">
                  <a:solidFill>
                    <a:srgbClr val="FFFFFF"/>
                  </a:solidFill>
                  <a:latin typeface="Segoe UI Semilight"/>
                </a:rPr>
                <a:t>Clean Missing Data</a:t>
              </a:r>
            </a:p>
          </p:txBody>
        </p:sp>
      </p:grpSp>
    </p:spTree>
    <p:extLst>
      <p:ext uri="{BB962C8B-B14F-4D97-AF65-F5344CB8AC3E}">
        <p14:creationId xmlns:p14="http://schemas.microsoft.com/office/powerpoint/2010/main" val="160573532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erminology</a:t>
            </a:r>
          </a:p>
        </p:txBody>
      </p:sp>
      <p:sp>
        <p:nvSpPr>
          <p:cNvPr id="5" name="Text Placeholder 4"/>
          <p:cNvSpPr>
            <a:spLocks noGrp="1"/>
          </p:cNvSpPr>
          <p:nvPr>
            <p:ph type="body" sz="quarter" idx="10"/>
          </p:nvPr>
        </p:nvSpPr>
        <p:spPr>
          <a:xfrm>
            <a:off x="205962" y="906462"/>
            <a:ext cx="8914641" cy="6454075"/>
          </a:xfrm>
        </p:spPr>
        <p:txBody>
          <a:bodyPr/>
          <a:lstStyle/>
          <a:p>
            <a:r>
              <a:rPr lang="en-US" sz="2100" b="1" dirty="0"/>
              <a:t>Learner</a:t>
            </a:r>
            <a:r>
              <a:rPr lang="en-US" sz="2100" dirty="0"/>
              <a:t>: Machine learning algorithm</a:t>
            </a:r>
          </a:p>
          <a:p>
            <a:r>
              <a:rPr lang="en-US" sz="2100" b="1" dirty="0"/>
              <a:t>Supervised Learning</a:t>
            </a:r>
            <a:r>
              <a:rPr lang="en-US" sz="2100" dirty="0"/>
              <a:t>:  we know the label (”will this loan </a:t>
            </a:r>
            <a:r>
              <a:rPr lang="en-US" sz="2100" dirty="0" err="1"/>
              <a:t>chargeoff</a:t>
            </a:r>
            <a:r>
              <a:rPr lang="en-US" sz="2100" dirty="0"/>
              <a:t>?”)</a:t>
            </a:r>
          </a:p>
          <a:p>
            <a:r>
              <a:rPr lang="en-US" sz="2100" dirty="0"/>
              <a:t>	you “train” these models with training and test data</a:t>
            </a:r>
          </a:p>
          <a:p>
            <a:r>
              <a:rPr lang="en-US" sz="2100" b="1" dirty="0"/>
              <a:t>Unsupervised Learning</a:t>
            </a:r>
            <a:r>
              <a:rPr lang="en-US" sz="2100" dirty="0"/>
              <a:t>:  we don’t know the label (“Recommendation engines”)</a:t>
            </a:r>
          </a:p>
          <a:p>
            <a:r>
              <a:rPr lang="en-US" sz="2100" dirty="0"/>
              <a:t>	the learner tries to find patterns</a:t>
            </a:r>
          </a:p>
          <a:p>
            <a:r>
              <a:rPr lang="en-US" sz="2100" dirty="0"/>
              <a:t>	ex:  anomaly detection, clustering</a:t>
            </a:r>
          </a:p>
          <a:p>
            <a:r>
              <a:rPr lang="en-US" sz="2100" b="1" dirty="0"/>
              <a:t>Parameter / Hyper-parameter</a:t>
            </a:r>
          </a:p>
          <a:p>
            <a:endParaRPr lang="en-US" sz="2100" dirty="0"/>
          </a:p>
          <a:p>
            <a:r>
              <a:rPr lang="en-US" sz="2100" b="1" dirty="0"/>
              <a:t>Correlation vs Causation</a:t>
            </a:r>
            <a:r>
              <a:rPr lang="en-US" sz="2100" dirty="0"/>
              <a:t>:  ML *cannot* tell what caused what</a:t>
            </a:r>
          </a:p>
          <a:p>
            <a:endParaRPr lang="en-US" sz="2100" dirty="0"/>
          </a:p>
          <a:p>
            <a:r>
              <a:rPr lang="en-US" sz="2100" b="1" dirty="0"/>
              <a:t>Leakage</a:t>
            </a:r>
          </a:p>
          <a:p>
            <a:r>
              <a:rPr lang="en-US" sz="2100" dirty="0"/>
              <a:t>	you accidentally used the response to predict the response</a:t>
            </a:r>
          </a:p>
          <a:p>
            <a:r>
              <a:rPr lang="en-US" sz="2100" dirty="0"/>
              <a:t>	(you used the answer to predict the answer)	</a:t>
            </a:r>
          </a:p>
          <a:p>
            <a:r>
              <a:rPr lang="en-US" sz="2100" dirty="0"/>
              <a:t>	ex:  you use GPA to predict if a student will fail</a:t>
            </a:r>
          </a:p>
          <a:p>
            <a:r>
              <a:rPr lang="en-US" sz="2100" dirty="0"/>
              <a:t>	these are often “masked” or “derived” and are hard to find</a:t>
            </a:r>
          </a:p>
          <a:p>
            <a:r>
              <a:rPr lang="en-US" sz="2100" dirty="0"/>
              <a:t>	happens possibly when your “relative influence” gets to high (70%?)</a:t>
            </a:r>
          </a:p>
          <a:p>
            <a:r>
              <a:rPr lang="en-US" sz="2100" dirty="0"/>
              <a:t>	</a:t>
            </a:r>
          </a:p>
        </p:txBody>
      </p:sp>
    </p:spTree>
    <p:extLst>
      <p:ext uri="{BB962C8B-B14F-4D97-AF65-F5344CB8AC3E}">
        <p14:creationId xmlns:p14="http://schemas.microsoft.com/office/powerpoint/2010/main" val="5655616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on white - 2">
      <a:dk1>
        <a:srgbClr val="505050"/>
      </a:dk1>
      <a:lt1>
        <a:srgbClr val="FFFFFF"/>
      </a:lt1>
      <a:dk2>
        <a:srgbClr val="0078D7"/>
      </a:dk2>
      <a:lt2>
        <a:srgbClr val="00BCF2"/>
      </a:lt2>
      <a:accent1>
        <a:srgbClr val="0078D7"/>
      </a:accent1>
      <a:accent2>
        <a:srgbClr val="002050"/>
      </a:accent2>
      <a:accent3>
        <a:srgbClr val="B4009E"/>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2016_3.potx" id="{1F18FE80-AD0B-4C11-BBF7-8BE611E3A032}" vid="{557D1152-6C94-4011-8B0F-FED4AC3DB5BB}"/>
    </a:ext>
  </a:extLst>
</a:theme>
</file>

<file path=ppt/theme/theme10.xml><?xml version="1.0" encoding="utf-8"?>
<a:theme xmlns:a="http://schemas.openxmlformats.org/drawingml/2006/main" name="5-50083_Machine Learning, Analytics &amp; Data Science Conference Template">
  <a:themeElements>
    <a:clrScheme name="MLADSC">
      <a:dk1>
        <a:srgbClr val="505050"/>
      </a:dk1>
      <a:lt1>
        <a:srgbClr val="FFFFFF"/>
      </a:lt1>
      <a:dk2>
        <a:srgbClr val="A80000"/>
      </a:dk2>
      <a:lt2>
        <a:srgbClr val="E6E6E6"/>
      </a:lt2>
      <a:accent1>
        <a:srgbClr val="A80000"/>
      </a:accent1>
      <a:accent2>
        <a:srgbClr val="080808"/>
      </a:accent2>
      <a:accent3>
        <a:srgbClr val="505050"/>
      </a:accent3>
      <a:accent4>
        <a:srgbClr val="737373"/>
      </a:accent4>
      <a:accent5>
        <a:srgbClr val="D83B01"/>
      </a:accent5>
      <a:accent6>
        <a:srgbClr val="002050"/>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chine_Learning_Analytics_Data_Science_Conference_16x9_Template.potx" id="{63B4DAC7-B0F2-40EF-AFF7-68071D178D56}" vid="{9310A23C-5965-4D6A-A027-4121A80BCA6F}"/>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2016_3.potx" id="{1F18FE80-AD0B-4C11-BBF7-8BE611E3A032}" vid="{27CCB6CF-8427-4403-BB66-395476EDB715}"/>
    </a:ext>
  </a:extLst>
</a:theme>
</file>

<file path=ppt/theme/theme3.xml><?xml version="1.0" encoding="utf-8"?>
<a:theme xmlns:a="http://schemas.openxmlformats.org/drawingml/2006/main" name="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Read-Only]" id="{DD734164-F40E-479F-8F17-ED891B49B3DF}" vid="{0722A4C9-FF71-4C4F-8FA9-C187D878E465}"/>
    </a:ext>
  </a:extLst>
</a:theme>
</file>

<file path=ppt/theme/theme4.xml><?xml version="1.0" encoding="utf-8"?>
<a:theme xmlns:a="http://schemas.openxmlformats.org/drawingml/2006/main" name="1_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Read-Only]" id="{DD734164-F40E-479F-8F17-ED891B49B3DF}" vid="{0722A4C9-FF71-4C4F-8FA9-C187D878E465}"/>
    </a:ext>
  </a:extLst>
</a:theme>
</file>

<file path=ppt/theme/theme5.xml><?xml version="1.0" encoding="utf-8"?>
<a:theme xmlns:a="http://schemas.openxmlformats.org/drawingml/2006/main" name="IOT WHITE TEMPLATE">
  <a:themeElements>
    <a:clrScheme name="IOT FY15 COLORS">
      <a:dk1>
        <a:sysClr val="windowText" lastClr="000000"/>
      </a:dk1>
      <a:lt1>
        <a:sysClr val="window" lastClr="FFFFFF"/>
      </a:lt1>
      <a:dk2>
        <a:srgbClr val="002050"/>
      </a:dk2>
      <a:lt2>
        <a:srgbClr val="F8F8F8"/>
      </a:lt2>
      <a:accent1>
        <a:srgbClr val="0078D7"/>
      </a:accent1>
      <a:accent2>
        <a:srgbClr val="FFB900"/>
      </a:accent2>
      <a:accent3>
        <a:srgbClr val="D83B01"/>
      </a:accent3>
      <a:accent4>
        <a:srgbClr val="5C2D91"/>
      </a:accent4>
      <a:accent5>
        <a:srgbClr val="008272"/>
      </a:accent5>
      <a:accent6>
        <a:srgbClr val="505050"/>
      </a:accent6>
      <a:hlink>
        <a:srgbClr val="5C005C"/>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00836CB-6491-47AF-B934-9207CFE631DB}" vid="{B9DD2023-8C55-4201-8B7F-F2FF6C63F36A}"/>
    </a:ext>
  </a:extLst>
</a:theme>
</file>

<file path=ppt/theme/theme6.xml><?xml version="1.0" encoding="utf-8"?>
<a:theme xmlns:a="http://schemas.openxmlformats.org/drawingml/2006/main" name="1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B4009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7.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DA3E9A10-DA9F-4DD8-B50B-5232D30DCC33}" vid="{851D39C6-C268-4F1F-9399-A4174C5AF8C5}"/>
    </a:ext>
  </a:extLst>
</a:theme>
</file>

<file path=ppt/theme/theme8.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Read-Only]" id="{FB259C66-2F39-4777-A420-537BD67CCDCE}" vid="{7473FFEA-30BF-450C-9F9D-1F5918798F0B}"/>
    </a:ext>
  </a:extLst>
</a:theme>
</file>

<file path=ppt/theme/theme9.xml><?xml version="1.0" encoding="utf-8"?>
<a:theme xmlns:a="http://schemas.openxmlformats.org/drawingml/2006/main" name="2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B4009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Override1.xml><?xml version="1.0" encoding="utf-8"?>
<a:themeOverride xmlns:a="http://schemas.openxmlformats.org/drawingml/2006/main">
  <a:clrScheme name="IOT FY15 COLORS">
    <a:dk1>
      <a:sysClr val="windowText" lastClr="000000"/>
    </a:dk1>
    <a:lt1>
      <a:sysClr val="window" lastClr="FFFFFF"/>
    </a:lt1>
    <a:dk2>
      <a:srgbClr val="002050"/>
    </a:dk2>
    <a:lt2>
      <a:srgbClr val="F8F8F8"/>
    </a:lt2>
    <a:accent1>
      <a:srgbClr val="0078D7"/>
    </a:accent1>
    <a:accent2>
      <a:srgbClr val="FFB900"/>
    </a:accent2>
    <a:accent3>
      <a:srgbClr val="D83B01"/>
    </a:accent3>
    <a:accent4>
      <a:srgbClr val="5C2D91"/>
    </a:accent4>
    <a:accent5>
      <a:srgbClr val="008272"/>
    </a:accent5>
    <a:accent6>
      <a:srgbClr val="505050"/>
    </a:accent6>
    <a:hlink>
      <a:srgbClr val="5C005C"/>
    </a:hlink>
    <a:folHlink>
      <a:srgbClr val="00BCF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3" ma:contentTypeDescription="Create a new document." ma:contentTypeScope="" ma:versionID="f0876370c90de824ab54c09b0bd2a056">
  <xsd:schema xmlns:xsd="http://www.w3.org/2001/XMLSchema" xmlns:xs="http://www.w3.org/2001/XMLSchema" xmlns:p="http://schemas.microsoft.com/office/2006/metadata/properties" xmlns:ns3="630a2e83-186a-4a0f-ab27-bee8a8096abc" targetNamespace="http://schemas.microsoft.com/office/2006/metadata/properties" ma:root="true" ma:fieldsID="a2a3b5ed8b4accd7c8a398d0cb075271" ns3:_="">
    <xsd:import namespace="630a2e83-186a-4a0f-ab27-bee8a8096abc"/>
    <xsd:element name="properties">
      <xsd:complexType>
        <xsd:sequence>
          <xsd:element name="documentManagement">
            <xsd:complexType>
              <xsd:all>
                <xsd:element ref="ns3:SharedWithUsers"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a2e83-186a-4a0f-ab27-bee8a8096ab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630a2e83-186a-4a0f-ab27-bee8a8096abc"/>
    <ds:schemaRef ds:uri="http://purl.org/dc/dcmitype/"/>
    <ds:schemaRef ds:uri="http://schemas.microsoft.com/office/infopath/2007/PartnerControls"/>
    <ds:schemaRef ds:uri="http://purl.org/dc/term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4E1B0F3-A957-46C1-B237-B18B8172CE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a2e83-186a-4a0f-ab27-bee8a8096a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rand_template_4-3_Business_BLUE_2016_3</Template>
  <TotalTime>8097</TotalTime>
  <Words>2506</Words>
  <Application>Microsoft Office PowerPoint</Application>
  <PresentationFormat>Custom</PresentationFormat>
  <Paragraphs>577</Paragraphs>
  <Slides>28</Slides>
  <Notes>22</Notes>
  <HiddenSlides>0</HiddenSlides>
  <MMClips>0</MMClips>
  <ScaleCrop>false</ScaleCrop>
  <HeadingPairs>
    <vt:vector size="8" baseType="variant">
      <vt:variant>
        <vt:lpstr>Fonts Used</vt:lpstr>
      </vt:variant>
      <vt:variant>
        <vt:i4>9</vt:i4>
      </vt:variant>
      <vt:variant>
        <vt:lpstr>Theme</vt:lpstr>
      </vt:variant>
      <vt:variant>
        <vt:i4>10</vt:i4>
      </vt:variant>
      <vt:variant>
        <vt:lpstr>Embedded OLE Servers</vt:lpstr>
      </vt:variant>
      <vt:variant>
        <vt:i4>1</vt:i4>
      </vt:variant>
      <vt:variant>
        <vt:lpstr>Slide Titles</vt:lpstr>
      </vt:variant>
      <vt:variant>
        <vt:i4>28</vt:i4>
      </vt:variant>
    </vt:vector>
  </HeadingPairs>
  <TitlesOfParts>
    <vt:vector size="48" baseType="lpstr">
      <vt:lpstr>Arial</vt:lpstr>
      <vt:lpstr>Calibri</vt:lpstr>
      <vt:lpstr>Cambria Math</vt:lpstr>
      <vt:lpstr>Consolas</vt:lpstr>
      <vt:lpstr>Segoe Semibold</vt:lpstr>
      <vt:lpstr>Segoe UI</vt:lpstr>
      <vt:lpstr>Segoe UI Light</vt:lpstr>
      <vt:lpstr>Segoe UI Semilight</vt:lpstr>
      <vt:lpstr>Wingdings</vt:lpstr>
      <vt:lpstr>WHITE TEMPLATE</vt:lpstr>
      <vt:lpstr>COLOR TEMPLATE</vt:lpstr>
      <vt:lpstr>5-30711_TR22_BO_CT_Template</vt:lpstr>
      <vt:lpstr>1_5-30711_TR22_BO_CT_Template</vt:lpstr>
      <vt:lpstr>IOT WHITE TEMPLATE</vt:lpstr>
      <vt:lpstr>1_COLOR TEMPLATE</vt:lpstr>
      <vt:lpstr>5-50033_TR23_BO_CT_Template</vt:lpstr>
      <vt:lpstr>5-50033_TR23_TR-TV_Template</vt:lpstr>
      <vt:lpstr>2_COLOR TEMPLATE</vt:lpstr>
      <vt:lpstr>5-50083_Machine Learning, Analytics &amp; Data Science Conference Template</vt:lpstr>
      <vt:lpstr>think-cell Slide</vt:lpstr>
      <vt:lpstr>Data Science Introduction</vt:lpstr>
      <vt:lpstr>Session Takeaways</vt:lpstr>
      <vt:lpstr>We Need to Start By Understanding Statistics</vt:lpstr>
      <vt:lpstr>The Model-Driven Enterprise</vt:lpstr>
      <vt:lpstr>PowerPoint Presentation</vt:lpstr>
      <vt:lpstr>Understanding the “Shape” of Data</vt:lpstr>
      <vt:lpstr>Terminology</vt:lpstr>
      <vt:lpstr>Feature Engineering Tasks</vt:lpstr>
      <vt:lpstr>Terminology</vt:lpstr>
      <vt:lpstr>Terminology</vt:lpstr>
      <vt:lpstr>Data science questions</vt:lpstr>
      <vt:lpstr>Modelling Techniques – Predictive Maintenance</vt:lpstr>
      <vt:lpstr>Data Labeling</vt:lpstr>
      <vt:lpstr>“ Feature engineering is the most important but underrated step of machine learning.”</vt:lpstr>
      <vt:lpstr>Feature Engineering is...  having a toolbox of “tricks”  obsessively knowing your data and your industry  Data Acquisition is the Number One Reason why data science projects either succeed or fail.    As Data Professionals we need to help our data scientists make the best use of data.  They often don’t know the data as well as we do.    The average R script is 80% ETL, 20% model.  That is WRONG.  We must help our data scientists.  </vt:lpstr>
      <vt:lpstr>Clean Missing Data</vt:lpstr>
      <vt:lpstr>Feature Engineering Best Practices  </vt:lpstr>
      <vt:lpstr>Feature Engineering Best Practices – Handling Continuous Numerical Values  </vt:lpstr>
      <vt:lpstr>Feature Generation</vt:lpstr>
      <vt:lpstr>Example Feature Engineering Methods</vt:lpstr>
      <vt:lpstr>Azure ML</vt:lpstr>
      <vt:lpstr>PowerPoint Presentation</vt:lpstr>
      <vt:lpstr>Closing Thoughts on Maintaining a Toolbox of Tricks</vt:lpstr>
      <vt:lpstr>Caution!</vt:lpstr>
      <vt:lpstr>PowerPoint Presentation</vt:lpstr>
      <vt:lpstr>Model evaluation</vt:lpstr>
      <vt:lpstr>PowerPoint Presentation</vt:lpstr>
      <vt:lpstr>Common Data Science Pitfalls</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mplate</dc:title>
  <dc:subject>&lt;Speech title here&gt;</dc:subject>
  <dc:creator>Dave Wentzel</dc:creator>
  <cp:keywords>MSVID, Brand Guidelines, Branding, Visual Identity, grid</cp:keywords>
  <dc:description>Template: Maryfj_x000d_
Formatting: _x000d_
Audience Type:</dc:description>
  <cp:lastModifiedBy>dave wentzel</cp:lastModifiedBy>
  <cp:revision>325</cp:revision>
  <dcterms:created xsi:type="dcterms:W3CDTF">2016-01-14T17:22:18Z</dcterms:created>
  <dcterms:modified xsi:type="dcterms:W3CDTF">2019-08-31T01:1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ies>
</file>